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4"/>
    <p:sldMasterId id="2147483667" r:id="rId5"/>
  </p:sldMasterIdLst>
  <p:notesMasterIdLst>
    <p:notesMasterId r:id="rId13"/>
  </p:notesMasterIdLst>
  <p:sldIdLst>
    <p:sldId id="2147474560" r:id="rId6"/>
    <p:sldId id="2147475997" r:id="rId7"/>
    <p:sldId id="2147476022" r:id="rId8"/>
    <p:sldId id="2147476023" r:id="rId9"/>
    <p:sldId id="2147476017" r:id="rId10"/>
    <p:sldId id="2147476038" r:id="rId11"/>
    <p:sldId id="2147476039" r:id="rId12"/>
  </p:sldIdLst>
  <p:sldSz cx="12192000" cy="6858000"/>
  <p:notesSz cx="6858000" cy="9144000"/>
  <p:embeddedFontLst>
    <p:embeddedFont>
      <p:font typeface="RM First Class App Solid" panose="020B0604020202020204" charset="0"/>
      <p:bold r:id="rId14"/>
    </p:embeddedFont>
    <p:embeddedFont>
      <p:font typeface="RM First Class Inline" panose="020B0604020202020204" charset="0"/>
      <p:bold r:id="rId15"/>
    </p:embeddedFont>
    <p:embeddedFont>
      <p:font typeface="RM First Class Solid" panose="020B0604020202020204" charset="0"/>
      <p:bold r:id="rId1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1493D4A-F558-0352-742E-D58718082FB3}" name="Kirandeep Hallan" initials="KH" userId="S::kirandeep.hallan@royalmail.com::d71cfc1f-acc7-4214-a2e5-3d346e16eb7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7C80"/>
    <a:srgbClr val="79DCFF"/>
    <a:srgbClr val="EFF8EC"/>
    <a:srgbClr val="EBEBF1"/>
    <a:srgbClr val="00CC66"/>
    <a:srgbClr val="E9F5FB"/>
    <a:srgbClr val="FFCC00"/>
    <a:srgbClr val="FFF5E7"/>
    <a:srgbClr val="666699"/>
    <a:srgbClr val="E8E8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81DA7C-9620-41D2-AB57-A19435435AE5}" v="3" dt="2025-07-24T07:43:04.9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754" autoAdjust="0"/>
    <p:restoredTop sz="96357" autoAdjust="0"/>
  </p:normalViewPr>
  <p:slideViewPr>
    <p:cSldViewPr snapToGrid="0">
      <p:cViewPr varScale="1">
        <p:scale>
          <a:sx n="59" d="100"/>
          <a:sy n="59" d="100"/>
        </p:scale>
        <p:origin x="132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2.fntdata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font" Target="fonts/font1.fntdata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43B9D5-A485-4BF1-8DC7-84B036E1428F}" type="datetimeFigureOut">
              <a:rPr lang="en-GB" smtClean="0"/>
              <a:t>08/08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E263BB-BE93-4997-83F5-38D01CD2FC8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01311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15BD1A-24B4-6841-8368-A2DC5AF8480E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6977654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15BD1A-24B4-6841-8368-A2DC5AF8480E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915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15BD1A-24B4-6841-8368-A2DC5AF8480E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0761110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15BD1A-24B4-6841-8368-A2DC5AF8480E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842872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15BD1A-24B4-6841-8368-A2DC5AF8480E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7606141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15BD1A-24B4-6841-8368-A2DC5AF8480E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611041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15BD1A-24B4-6841-8368-A2DC5AF8480E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79826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1" cy="3453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244" b="1" i="0">
                <a:solidFill>
                  <a:schemeClr val="bg1"/>
                </a:solidFill>
                <a:latin typeface="RMFirstClass-Solid"/>
                <a:cs typeface="RMFirstClass-Soli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378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546" b="1" i="0">
                <a:solidFill>
                  <a:schemeClr val="bg1"/>
                </a:solidFill>
                <a:latin typeface="RMFirstClass-Solid"/>
                <a:cs typeface="RMFirstClass-Solid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8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285050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D panel">
            <a:extLst>
              <a:ext uri="{FF2B5EF4-FFF2-40B4-BE49-F238E27FC236}">
                <a16:creationId xmlns:a16="http://schemas.microsoft.com/office/drawing/2014/main" id="{26412E7C-8BCC-406C-BE71-A142E37327AF}"/>
              </a:ext>
            </a:extLst>
          </p:cNvPr>
          <p:cNvSpPr/>
          <p:nvPr userDrawn="1"/>
        </p:nvSpPr>
        <p:spPr>
          <a:xfrm>
            <a:off x="9452114" y="0"/>
            <a:ext cx="2739886" cy="6858000"/>
          </a:xfrm>
          <a:prstGeom prst="rect">
            <a:avLst/>
          </a:prstGeom>
          <a:solidFill>
            <a:srgbClr val="C9BB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17B3C4BC-D53A-4106-A568-0C35ADED83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3695" y="5757632"/>
            <a:ext cx="1387977" cy="77162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6B2BB08-F52B-41AB-888A-B3C3E4329A47}"/>
              </a:ext>
            </a:extLst>
          </p:cNvPr>
          <p:cNvSpPr/>
          <p:nvPr userDrawn="1"/>
        </p:nvSpPr>
        <p:spPr>
          <a:xfrm>
            <a:off x="9014981" y="0"/>
            <a:ext cx="437131" cy="6858000"/>
          </a:xfrm>
          <a:prstGeom prst="rect">
            <a:avLst/>
          </a:prstGeom>
          <a:solidFill>
            <a:srgbClr val="C9BB3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02E74B-6763-443B-A65A-73D4310359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575801" y="296865"/>
            <a:ext cx="2447925" cy="3373437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600">
                <a:solidFill>
                  <a:schemeClr val="bg1"/>
                </a:solidFill>
              </a:defRPr>
            </a:lvl3pPr>
            <a:lvl4pPr>
              <a:defRPr sz="3600">
                <a:solidFill>
                  <a:schemeClr val="bg1"/>
                </a:solidFill>
              </a:defRPr>
            </a:lvl4pPr>
            <a:lvl5pPr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34828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D panel">
            <a:extLst>
              <a:ext uri="{FF2B5EF4-FFF2-40B4-BE49-F238E27FC236}">
                <a16:creationId xmlns:a16="http://schemas.microsoft.com/office/drawing/2014/main" id="{26412E7C-8BCC-406C-BE71-A142E37327AF}"/>
              </a:ext>
            </a:extLst>
          </p:cNvPr>
          <p:cNvSpPr/>
          <p:nvPr userDrawn="1"/>
        </p:nvSpPr>
        <p:spPr>
          <a:xfrm>
            <a:off x="9452114" y="0"/>
            <a:ext cx="2739886" cy="6858000"/>
          </a:xfrm>
          <a:prstGeom prst="rect">
            <a:avLst/>
          </a:prstGeom>
          <a:solidFill>
            <a:srgbClr val="006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17B3C4BC-D53A-4106-A568-0C35ADED83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3695" y="5757632"/>
            <a:ext cx="1387977" cy="77162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6B2BB08-F52B-41AB-888A-B3C3E4329A47}"/>
              </a:ext>
            </a:extLst>
          </p:cNvPr>
          <p:cNvSpPr/>
          <p:nvPr userDrawn="1"/>
        </p:nvSpPr>
        <p:spPr>
          <a:xfrm>
            <a:off x="9014981" y="0"/>
            <a:ext cx="437131" cy="6858000"/>
          </a:xfrm>
          <a:prstGeom prst="rect">
            <a:avLst/>
          </a:prstGeom>
          <a:solidFill>
            <a:srgbClr val="00665E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D0141D-E832-487F-A02B-D61BE7AAEF6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590089" y="363540"/>
            <a:ext cx="2425700" cy="3398837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  <a:lvl2pPr>
              <a:defRPr sz="3600">
                <a:solidFill>
                  <a:schemeClr val="bg1"/>
                </a:solidFill>
                <a:latin typeface="+mn-lt"/>
              </a:defRPr>
            </a:lvl2pPr>
            <a:lvl3pPr>
              <a:defRPr sz="3600">
                <a:solidFill>
                  <a:schemeClr val="bg1"/>
                </a:solidFill>
                <a:latin typeface="+mn-lt"/>
              </a:defRPr>
            </a:lvl3pPr>
            <a:lvl4pPr>
              <a:defRPr sz="3600">
                <a:solidFill>
                  <a:schemeClr val="bg1"/>
                </a:solidFill>
                <a:latin typeface="+mn-lt"/>
              </a:defRPr>
            </a:lvl4pPr>
            <a:lvl5pPr>
              <a:defRPr sz="36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529278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1F61FA9-D2BE-41F5-8564-80E45A4055CA}"/>
              </a:ext>
            </a:extLst>
          </p:cNvPr>
          <p:cNvSpPr/>
          <p:nvPr userDrawn="1"/>
        </p:nvSpPr>
        <p:spPr>
          <a:xfrm>
            <a:off x="0" y="0"/>
            <a:ext cx="7185991" cy="6858000"/>
          </a:xfrm>
          <a:prstGeom prst="rect">
            <a:avLst/>
          </a:prstGeom>
          <a:solidFill>
            <a:srgbClr val="C623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59EA7DF0-4F58-4E5C-956A-82E2D06001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8000" y="630238"/>
            <a:ext cx="5781675" cy="58975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68374C3-ACD0-464B-B6A0-FF3F46D0E7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39949" y="1489076"/>
            <a:ext cx="3835401" cy="3879850"/>
          </a:xfrm>
          <a:prstGeom prst="teardrop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Teardrop 3">
            <a:extLst>
              <a:ext uri="{FF2B5EF4-FFF2-40B4-BE49-F238E27FC236}">
                <a16:creationId xmlns:a16="http://schemas.microsoft.com/office/drawing/2014/main" id="{E30FA0A0-393B-4066-A18F-157C04914F1A}"/>
              </a:ext>
            </a:extLst>
          </p:cNvPr>
          <p:cNvSpPr/>
          <p:nvPr userDrawn="1"/>
        </p:nvSpPr>
        <p:spPr>
          <a:xfrm>
            <a:off x="6539025" y="1477926"/>
            <a:ext cx="3848987" cy="3859618"/>
          </a:xfrm>
          <a:prstGeom prst="teardrop">
            <a:avLst/>
          </a:prstGeom>
          <a:noFill/>
          <a:ln w="342900">
            <a:solidFill>
              <a:srgbClr val="C00000">
                <a:alpha val="52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797604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1F61FA9-D2BE-41F5-8564-80E45A4055CA}"/>
              </a:ext>
            </a:extLst>
          </p:cNvPr>
          <p:cNvSpPr/>
          <p:nvPr userDrawn="1"/>
        </p:nvSpPr>
        <p:spPr>
          <a:xfrm>
            <a:off x="0" y="0"/>
            <a:ext cx="7185991" cy="6858000"/>
          </a:xfrm>
          <a:prstGeom prst="rect">
            <a:avLst/>
          </a:prstGeom>
          <a:solidFill>
            <a:srgbClr val="006B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59EA7DF0-4F58-4E5C-956A-82E2D06001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8000" y="630238"/>
            <a:ext cx="5781675" cy="58975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68374C3-ACD0-464B-B6A0-FF3F46D0E7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39949" y="1489076"/>
            <a:ext cx="3835401" cy="3879850"/>
          </a:xfrm>
          <a:prstGeom prst="teardrop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Teardrop 3">
            <a:extLst>
              <a:ext uri="{FF2B5EF4-FFF2-40B4-BE49-F238E27FC236}">
                <a16:creationId xmlns:a16="http://schemas.microsoft.com/office/drawing/2014/main" id="{E30FA0A0-393B-4066-A18F-157C04914F1A}"/>
              </a:ext>
            </a:extLst>
          </p:cNvPr>
          <p:cNvSpPr/>
          <p:nvPr userDrawn="1"/>
        </p:nvSpPr>
        <p:spPr>
          <a:xfrm>
            <a:off x="6539025" y="1477926"/>
            <a:ext cx="3848987" cy="3859618"/>
          </a:xfrm>
          <a:prstGeom prst="teardrop">
            <a:avLst/>
          </a:prstGeom>
          <a:noFill/>
          <a:ln w="342900">
            <a:solidFill>
              <a:srgbClr val="006B93">
                <a:alpha val="52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48586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1F61FA9-D2BE-41F5-8564-80E45A4055CA}"/>
              </a:ext>
            </a:extLst>
          </p:cNvPr>
          <p:cNvSpPr/>
          <p:nvPr userDrawn="1"/>
        </p:nvSpPr>
        <p:spPr>
          <a:xfrm>
            <a:off x="0" y="0"/>
            <a:ext cx="7185991" cy="6858000"/>
          </a:xfrm>
          <a:prstGeom prst="rect">
            <a:avLst/>
          </a:prstGeom>
          <a:solidFill>
            <a:srgbClr val="4183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59EA7DF0-4F58-4E5C-956A-82E2D06001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8000" y="630238"/>
            <a:ext cx="5781675" cy="58975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68374C3-ACD0-464B-B6A0-FF3F46D0E7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39949" y="1489076"/>
            <a:ext cx="3835401" cy="3879850"/>
          </a:xfrm>
          <a:prstGeom prst="teardrop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Teardrop 3">
            <a:extLst>
              <a:ext uri="{FF2B5EF4-FFF2-40B4-BE49-F238E27FC236}">
                <a16:creationId xmlns:a16="http://schemas.microsoft.com/office/drawing/2014/main" id="{E30FA0A0-393B-4066-A18F-157C04914F1A}"/>
              </a:ext>
            </a:extLst>
          </p:cNvPr>
          <p:cNvSpPr/>
          <p:nvPr userDrawn="1"/>
        </p:nvSpPr>
        <p:spPr>
          <a:xfrm>
            <a:off x="6539025" y="1477926"/>
            <a:ext cx="3848987" cy="3859618"/>
          </a:xfrm>
          <a:prstGeom prst="teardrop">
            <a:avLst/>
          </a:prstGeom>
          <a:noFill/>
          <a:ln w="342900">
            <a:solidFill>
              <a:srgbClr val="418347">
                <a:alpha val="52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271841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1F61FA9-D2BE-41F5-8564-80E45A4055CA}"/>
              </a:ext>
            </a:extLst>
          </p:cNvPr>
          <p:cNvSpPr/>
          <p:nvPr userDrawn="1"/>
        </p:nvSpPr>
        <p:spPr>
          <a:xfrm>
            <a:off x="0" y="0"/>
            <a:ext cx="7185991" cy="6858000"/>
          </a:xfrm>
          <a:prstGeom prst="rect">
            <a:avLst/>
          </a:prstGeom>
          <a:solidFill>
            <a:srgbClr val="C9BB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59EA7DF0-4F58-4E5C-956A-82E2D06001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8000" y="630238"/>
            <a:ext cx="5781675" cy="58975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68374C3-ACD0-464B-B6A0-FF3F46D0E7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39949" y="1489076"/>
            <a:ext cx="3835401" cy="3879850"/>
          </a:xfrm>
          <a:prstGeom prst="teardrop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Teardrop 3">
            <a:extLst>
              <a:ext uri="{FF2B5EF4-FFF2-40B4-BE49-F238E27FC236}">
                <a16:creationId xmlns:a16="http://schemas.microsoft.com/office/drawing/2014/main" id="{E30FA0A0-393B-4066-A18F-157C04914F1A}"/>
              </a:ext>
            </a:extLst>
          </p:cNvPr>
          <p:cNvSpPr/>
          <p:nvPr userDrawn="1"/>
        </p:nvSpPr>
        <p:spPr>
          <a:xfrm>
            <a:off x="6539025" y="1477926"/>
            <a:ext cx="3848987" cy="3859618"/>
          </a:xfrm>
          <a:prstGeom prst="teardrop">
            <a:avLst/>
          </a:prstGeom>
          <a:noFill/>
          <a:ln w="342900">
            <a:solidFill>
              <a:srgbClr val="C9BB34">
                <a:alpha val="52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263568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1F61FA9-D2BE-41F5-8564-80E45A4055CA}"/>
              </a:ext>
            </a:extLst>
          </p:cNvPr>
          <p:cNvSpPr/>
          <p:nvPr userDrawn="1"/>
        </p:nvSpPr>
        <p:spPr>
          <a:xfrm>
            <a:off x="0" y="0"/>
            <a:ext cx="7185991" cy="6858000"/>
          </a:xfrm>
          <a:prstGeom prst="rect">
            <a:avLst/>
          </a:prstGeom>
          <a:solidFill>
            <a:srgbClr val="0067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59EA7DF0-4F58-4E5C-956A-82E2D06001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8000" y="630238"/>
            <a:ext cx="5781675" cy="58975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68374C3-ACD0-464B-B6A0-FF3F46D0E7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39949" y="1489076"/>
            <a:ext cx="3835401" cy="3879850"/>
          </a:xfrm>
          <a:prstGeom prst="teardrop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Teardrop 3">
            <a:extLst>
              <a:ext uri="{FF2B5EF4-FFF2-40B4-BE49-F238E27FC236}">
                <a16:creationId xmlns:a16="http://schemas.microsoft.com/office/drawing/2014/main" id="{E30FA0A0-393B-4066-A18F-157C04914F1A}"/>
              </a:ext>
            </a:extLst>
          </p:cNvPr>
          <p:cNvSpPr/>
          <p:nvPr userDrawn="1"/>
        </p:nvSpPr>
        <p:spPr>
          <a:xfrm>
            <a:off x="6539025" y="1477926"/>
            <a:ext cx="3848987" cy="3859618"/>
          </a:xfrm>
          <a:prstGeom prst="teardrop">
            <a:avLst/>
          </a:prstGeom>
          <a:noFill/>
          <a:ln w="342900">
            <a:solidFill>
              <a:srgbClr val="006781">
                <a:alpha val="52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223378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1F61FA9-D2BE-41F5-8564-80E45A4055CA}"/>
              </a:ext>
            </a:extLst>
          </p:cNvPr>
          <p:cNvSpPr/>
          <p:nvPr userDrawn="1"/>
        </p:nvSpPr>
        <p:spPr>
          <a:xfrm>
            <a:off x="0" y="0"/>
            <a:ext cx="7185991" cy="6858000"/>
          </a:xfrm>
          <a:prstGeom prst="rect">
            <a:avLst/>
          </a:prstGeom>
          <a:solidFill>
            <a:srgbClr val="006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59EA7DF0-4F58-4E5C-956A-82E2D06001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8000" y="630238"/>
            <a:ext cx="5781675" cy="58975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68374C3-ACD0-464B-B6A0-FF3F46D0E7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39949" y="1489076"/>
            <a:ext cx="3835401" cy="3879850"/>
          </a:xfrm>
          <a:prstGeom prst="teardrop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Teardrop 3">
            <a:extLst>
              <a:ext uri="{FF2B5EF4-FFF2-40B4-BE49-F238E27FC236}">
                <a16:creationId xmlns:a16="http://schemas.microsoft.com/office/drawing/2014/main" id="{E30FA0A0-393B-4066-A18F-157C04914F1A}"/>
              </a:ext>
            </a:extLst>
          </p:cNvPr>
          <p:cNvSpPr/>
          <p:nvPr userDrawn="1"/>
        </p:nvSpPr>
        <p:spPr>
          <a:xfrm>
            <a:off x="6539025" y="1477926"/>
            <a:ext cx="3848987" cy="3859618"/>
          </a:xfrm>
          <a:prstGeom prst="teardrop">
            <a:avLst/>
          </a:prstGeom>
          <a:noFill/>
          <a:ln w="342900">
            <a:solidFill>
              <a:srgbClr val="00665E">
                <a:alpha val="52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9400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0625167-108E-42C0-AA52-8CA761B811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0B87F2-2F5D-4C67-9333-DE0684CB96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210B5B-9430-41F6-A91C-35DC1C6BBD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E8B9C-6311-4C7D-8E7A-1596F958E61A}" type="slidenum">
              <a:rPr lang="en-GB" smtClean="0"/>
              <a:t>‹#›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1130473-0A66-07A2-06B6-0A32176FF93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52261" y="5844208"/>
            <a:ext cx="1197979" cy="6618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831219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71A636E1-C10D-4254-95E7-FE41AA091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0"/>
            <a:ext cx="10515600" cy="13255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00817A1-FCCE-4A90-A095-9929667E4E93}"/>
              </a:ext>
            </a:extLst>
          </p:cNvPr>
          <p:cNvCxnSpPr/>
          <p:nvPr userDrawn="1"/>
        </p:nvCxnSpPr>
        <p:spPr>
          <a:xfrm>
            <a:off x="506898" y="1013792"/>
            <a:ext cx="10565294" cy="0"/>
          </a:xfrm>
          <a:prstGeom prst="line">
            <a:avLst/>
          </a:prstGeom>
          <a:ln w="34925">
            <a:solidFill>
              <a:srgbClr val="00678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012C6DD-C28A-4129-BBFD-8E2A2945DB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86FEA4-916F-4527-BA3E-1F2BE0012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1625E4-E766-43F0-B66D-D283D44F5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E8B9C-6311-4C7D-8E7A-1596F958E61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1396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1" cy="3453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244" b="1" i="0">
                <a:solidFill>
                  <a:schemeClr val="bg1"/>
                </a:solidFill>
                <a:latin typeface="RMFirstClass-Solid"/>
                <a:cs typeface="RMFirstClass-Soli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378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546" b="1" i="0">
                <a:solidFill>
                  <a:schemeClr val="bg1"/>
                </a:solidFill>
                <a:latin typeface="RMFirstClass-Solid"/>
                <a:cs typeface="RMFirstClass-Solid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8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A253DE2-2447-4553-B869-5B60EF3046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899240"/>
            <a:ext cx="12192000" cy="95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9222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71A636E1-C10D-4254-95E7-FE41AA091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0"/>
            <a:ext cx="10515600" cy="13255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00817A1-FCCE-4A90-A095-9929667E4E93}"/>
              </a:ext>
            </a:extLst>
          </p:cNvPr>
          <p:cNvCxnSpPr/>
          <p:nvPr userDrawn="1"/>
        </p:nvCxnSpPr>
        <p:spPr>
          <a:xfrm>
            <a:off x="506898" y="1013792"/>
            <a:ext cx="10565294" cy="0"/>
          </a:xfrm>
          <a:prstGeom prst="line">
            <a:avLst/>
          </a:prstGeom>
          <a:ln w="349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2120FABB-F810-4BB4-87C7-414527004F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4811" y="176834"/>
            <a:ext cx="1197979" cy="661896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012C6DD-C28A-4129-BBFD-8E2A2945DB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86FEA4-916F-4527-BA3E-1F2BE0012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1625E4-E766-43F0-B66D-D283D44F5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E8B9C-6311-4C7D-8E7A-1596F958E61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6232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71A636E1-C10D-4254-95E7-FE41AA091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0"/>
            <a:ext cx="10515600" cy="13255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00817A1-FCCE-4A90-A095-9929667E4E93}"/>
              </a:ext>
            </a:extLst>
          </p:cNvPr>
          <p:cNvCxnSpPr/>
          <p:nvPr userDrawn="1"/>
        </p:nvCxnSpPr>
        <p:spPr>
          <a:xfrm>
            <a:off x="506898" y="1013792"/>
            <a:ext cx="10565294" cy="0"/>
          </a:xfrm>
          <a:prstGeom prst="line">
            <a:avLst/>
          </a:prstGeom>
          <a:ln w="34925">
            <a:solidFill>
              <a:srgbClr val="00678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2120FABB-F810-4BB4-87C7-414527004F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52261" y="5844208"/>
            <a:ext cx="1197979" cy="661896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012C6DD-C28A-4129-BBFD-8E2A2945DB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86FEA4-916F-4527-BA3E-1F2BE0012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1625E4-E766-43F0-B66D-D283D44F5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E8B9C-6311-4C7D-8E7A-1596F958E61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13692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68548" y="224056"/>
            <a:ext cx="8609878" cy="345351"/>
          </a:xfrm>
        </p:spPr>
        <p:txBody>
          <a:bodyPr lIns="0" tIns="0" rIns="0" bIns="0"/>
          <a:lstStyle>
            <a:lvl1pPr>
              <a:defRPr sz="2244" b="1" i="0">
                <a:solidFill>
                  <a:schemeClr val="bg1"/>
                </a:solidFill>
                <a:latin typeface="RMFirstClass-Solid"/>
                <a:cs typeface="RMFirstClass-Soli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561066" y="1319077"/>
            <a:ext cx="6032460" cy="237886"/>
          </a:xfrm>
        </p:spPr>
        <p:txBody>
          <a:bodyPr lIns="0" tIns="0" rIns="0" bIns="0"/>
          <a:lstStyle>
            <a:lvl1pPr>
              <a:defRPr sz="1546" b="1" i="0">
                <a:solidFill>
                  <a:schemeClr val="bg1"/>
                </a:solidFill>
                <a:latin typeface="RMFirstClass-Solid"/>
                <a:cs typeface="RMFirstClass-Solid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8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687719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68548" y="224056"/>
            <a:ext cx="8609878" cy="345351"/>
          </a:xfrm>
        </p:spPr>
        <p:txBody>
          <a:bodyPr lIns="0" tIns="0" rIns="0" bIns="0"/>
          <a:lstStyle>
            <a:lvl1pPr>
              <a:defRPr sz="2244" b="1" i="0">
                <a:solidFill>
                  <a:schemeClr val="bg1"/>
                </a:solidFill>
                <a:latin typeface="RMFirstClass-Solid"/>
                <a:cs typeface="RMFirstClass-Soli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3924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3924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8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305194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0075" cy="6857615"/>
          </a:xfrm>
          <a:custGeom>
            <a:avLst/>
            <a:gdLst/>
            <a:ahLst/>
            <a:cxnLst/>
            <a:rect l="l" t="t" r="r" b="b"/>
            <a:pathLst>
              <a:path w="20100925" h="11308715">
                <a:moveTo>
                  <a:pt x="20100812" y="0"/>
                </a:moveTo>
                <a:lnTo>
                  <a:pt x="0" y="0"/>
                </a:lnTo>
                <a:lnTo>
                  <a:pt x="0" y="11308556"/>
                </a:lnTo>
                <a:lnTo>
                  <a:pt x="20100812" y="11308556"/>
                </a:lnTo>
                <a:lnTo>
                  <a:pt x="20100812" y="0"/>
                </a:lnTo>
                <a:close/>
              </a:path>
            </a:pathLst>
          </a:custGeom>
          <a:solidFill>
            <a:srgbClr val="DA202A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bg object 17"/>
          <p:cNvSpPr/>
          <p:nvPr/>
        </p:nvSpPr>
        <p:spPr>
          <a:xfrm>
            <a:off x="8662651" y="3173313"/>
            <a:ext cx="3527439" cy="3684298"/>
          </a:xfrm>
          <a:custGeom>
            <a:avLst/>
            <a:gdLst/>
            <a:ahLst/>
            <a:cxnLst/>
            <a:rect l="l" t="t" r="r" b="b"/>
            <a:pathLst>
              <a:path w="5816600" h="6075680">
                <a:moveTo>
                  <a:pt x="3897134" y="487527"/>
                </a:moveTo>
                <a:lnTo>
                  <a:pt x="3821150" y="436727"/>
                </a:lnTo>
                <a:lnTo>
                  <a:pt x="3782491" y="411327"/>
                </a:lnTo>
                <a:lnTo>
                  <a:pt x="3756418" y="385927"/>
                </a:lnTo>
                <a:lnTo>
                  <a:pt x="3743375" y="373227"/>
                </a:lnTo>
                <a:lnTo>
                  <a:pt x="3703853" y="347827"/>
                </a:lnTo>
                <a:lnTo>
                  <a:pt x="3663912" y="335127"/>
                </a:lnTo>
                <a:lnTo>
                  <a:pt x="3541776" y="258927"/>
                </a:lnTo>
                <a:lnTo>
                  <a:pt x="3500336" y="246227"/>
                </a:lnTo>
                <a:lnTo>
                  <a:pt x="3416452" y="195427"/>
                </a:lnTo>
                <a:lnTo>
                  <a:pt x="3331299" y="170027"/>
                </a:lnTo>
                <a:lnTo>
                  <a:pt x="3288296" y="144627"/>
                </a:lnTo>
                <a:lnTo>
                  <a:pt x="2980359" y="55727"/>
                </a:lnTo>
                <a:lnTo>
                  <a:pt x="2935554" y="55727"/>
                </a:lnTo>
                <a:lnTo>
                  <a:pt x="2845460" y="30327"/>
                </a:lnTo>
                <a:lnTo>
                  <a:pt x="2800197" y="30327"/>
                </a:lnTo>
                <a:lnTo>
                  <a:pt x="2754820" y="17627"/>
                </a:lnTo>
                <a:lnTo>
                  <a:pt x="2663748" y="17627"/>
                </a:lnTo>
                <a:lnTo>
                  <a:pt x="2618079" y="4927"/>
                </a:lnTo>
                <a:lnTo>
                  <a:pt x="2343137" y="4927"/>
                </a:lnTo>
                <a:lnTo>
                  <a:pt x="2297277" y="17627"/>
                </a:lnTo>
                <a:lnTo>
                  <a:pt x="2205672" y="17627"/>
                </a:lnTo>
                <a:lnTo>
                  <a:pt x="2159939" y="30327"/>
                </a:lnTo>
                <a:lnTo>
                  <a:pt x="2114270" y="30327"/>
                </a:lnTo>
                <a:lnTo>
                  <a:pt x="2068690" y="43027"/>
                </a:lnTo>
                <a:lnTo>
                  <a:pt x="2023211" y="43027"/>
                </a:lnTo>
                <a:lnTo>
                  <a:pt x="1887474" y="81127"/>
                </a:lnTo>
                <a:lnTo>
                  <a:pt x="1842516" y="81127"/>
                </a:lnTo>
                <a:lnTo>
                  <a:pt x="1753095" y="106527"/>
                </a:lnTo>
                <a:lnTo>
                  <a:pt x="1708658" y="131927"/>
                </a:lnTo>
                <a:lnTo>
                  <a:pt x="1533131" y="182727"/>
                </a:lnTo>
                <a:lnTo>
                  <a:pt x="1489862" y="208127"/>
                </a:lnTo>
                <a:lnTo>
                  <a:pt x="1446872" y="220827"/>
                </a:lnTo>
                <a:lnTo>
                  <a:pt x="1404162" y="246227"/>
                </a:lnTo>
                <a:lnTo>
                  <a:pt x="1361757" y="258927"/>
                </a:lnTo>
                <a:lnTo>
                  <a:pt x="1236497" y="335127"/>
                </a:lnTo>
                <a:lnTo>
                  <a:pt x="1195425" y="347827"/>
                </a:lnTo>
                <a:lnTo>
                  <a:pt x="1154734" y="373227"/>
                </a:lnTo>
                <a:lnTo>
                  <a:pt x="1034999" y="449427"/>
                </a:lnTo>
                <a:lnTo>
                  <a:pt x="995908" y="487527"/>
                </a:lnTo>
                <a:lnTo>
                  <a:pt x="957262" y="512927"/>
                </a:lnTo>
                <a:lnTo>
                  <a:pt x="881341" y="563727"/>
                </a:lnTo>
                <a:lnTo>
                  <a:pt x="844092" y="601827"/>
                </a:lnTo>
                <a:lnTo>
                  <a:pt x="807339" y="627227"/>
                </a:lnTo>
                <a:lnTo>
                  <a:pt x="771080" y="665327"/>
                </a:lnTo>
                <a:lnTo>
                  <a:pt x="735355" y="690727"/>
                </a:lnTo>
                <a:lnTo>
                  <a:pt x="700151" y="728827"/>
                </a:lnTo>
                <a:lnTo>
                  <a:pt x="663994" y="766927"/>
                </a:lnTo>
                <a:lnTo>
                  <a:pt x="628726" y="805027"/>
                </a:lnTo>
                <a:lnTo>
                  <a:pt x="594360" y="843127"/>
                </a:lnTo>
                <a:lnTo>
                  <a:pt x="560895" y="881227"/>
                </a:lnTo>
                <a:lnTo>
                  <a:pt x="528345" y="919327"/>
                </a:lnTo>
                <a:lnTo>
                  <a:pt x="496709" y="957427"/>
                </a:lnTo>
                <a:lnTo>
                  <a:pt x="465988" y="995527"/>
                </a:lnTo>
                <a:lnTo>
                  <a:pt x="436206" y="1033627"/>
                </a:lnTo>
                <a:lnTo>
                  <a:pt x="407352" y="1071727"/>
                </a:lnTo>
                <a:lnTo>
                  <a:pt x="379437" y="1109827"/>
                </a:lnTo>
                <a:lnTo>
                  <a:pt x="352463" y="1160627"/>
                </a:lnTo>
                <a:lnTo>
                  <a:pt x="326440" y="1198727"/>
                </a:lnTo>
                <a:lnTo>
                  <a:pt x="301358" y="1236827"/>
                </a:lnTo>
                <a:lnTo>
                  <a:pt x="277253" y="1287627"/>
                </a:lnTo>
                <a:lnTo>
                  <a:pt x="254101" y="1325727"/>
                </a:lnTo>
                <a:lnTo>
                  <a:pt x="231927" y="1376527"/>
                </a:lnTo>
                <a:lnTo>
                  <a:pt x="210731" y="1414627"/>
                </a:lnTo>
                <a:lnTo>
                  <a:pt x="190512" y="1465427"/>
                </a:lnTo>
                <a:lnTo>
                  <a:pt x="171272" y="1503527"/>
                </a:lnTo>
                <a:lnTo>
                  <a:pt x="153035" y="1554327"/>
                </a:lnTo>
                <a:lnTo>
                  <a:pt x="135801" y="1592427"/>
                </a:lnTo>
                <a:lnTo>
                  <a:pt x="119557" y="1643227"/>
                </a:lnTo>
                <a:lnTo>
                  <a:pt x="104317" y="1694027"/>
                </a:lnTo>
                <a:lnTo>
                  <a:pt x="90106" y="1732127"/>
                </a:lnTo>
                <a:lnTo>
                  <a:pt x="76911" y="1782927"/>
                </a:lnTo>
                <a:lnTo>
                  <a:pt x="64731" y="1833727"/>
                </a:lnTo>
                <a:lnTo>
                  <a:pt x="53594" y="1884527"/>
                </a:lnTo>
                <a:lnTo>
                  <a:pt x="43484" y="1922627"/>
                </a:lnTo>
                <a:lnTo>
                  <a:pt x="34417" y="1973427"/>
                </a:lnTo>
                <a:lnTo>
                  <a:pt x="26390" y="2024227"/>
                </a:lnTo>
                <a:lnTo>
                  <a:pt x="19431" y="2075027"/>
                </a:lnTo>
                <a:lnTo>
                  <a:pt x="13512" y="2125827"/>
                </a:lnTo>
                <a:lnTo>
                  <a:pt x="8661" y="2176627"/>
                </a:lnTo>
                <a:lnTo>
                  <a:pt x="4889" y="2227427"/>
                </a:lnTo>
                <a:lnTo>
                  <a:pt x="2171" y="2278227"/>
                </a:lnTo>
                <a:lnTo>
                  <a:pt x="546" y="2329027"/>
                </a:lnTo>
                <a:lnTo>
                  <a:pt x="0" y="2379827"/>
                </a:lnTo>
                <a:lnTo>
                  <a:pt x="546" y="2417927"/>
                </a:lnTo>
                <a:lnTo>
                  <a:pt x="2171" y="2468727"/>
                </a:lnTo>
                <a:lnTo>
                  <a:pt x="4889" y="2519527"/>
                </a:lnTo>
                <a:lnTo>
                  <a:pt x="8661" y="2570327"/>
                </a:lnTo>
                <a:lnTo>
                  <a:pt x="13512" y="2621127"/>
                </a:lnTo>
                <a:lnTo>
                  <a:pt x="19431" y="2671927"/>
                </a:lnTo>
                <a:lnTo>
                  <a:pt x="26390" y="2722727"/>
                </a:lnTo>
                <a:lnTo>
                  <a:pt x="34417" y="2773527"/>
                </a:lnTo>
                <a:lnTo>
                  <a:pt x="43484" y="2824327"/>
                </a:lnTo>
                <a:lnTo>
                  <a:pt x="53594" y="2862427"/>
                </a:lnTo>
                <a:lnTo>
                  <a:pt x="64731" y="2913227"/>
                </a:lnTo>
                <a:lnTo>
                  <a:pt x="76911" y="2964027"/>
                </a:lnTo>
                <a:lnTo>
                  <a:pt x="90106" y="3014827"/>
                </a:lnTo>
                <a:lnTo>
                  <a:pt x="104317" y="3052927"/>
                </a:lnTo>
                <a:lnTo>
                  <a:pt x="119557" y="3103727"/>
                </a:lnTo>
                <a:lnTo>
                  <a:pt x="135801" y="3154527"/>
                </a:lnTo>
                <a:lnTo>
                  <a:pt x="153035" y="3192627"/>
                </a:lnTo>
                <a:lnTo>
                  <a:pt x="171272" y="3243427"/>
                </a:lnTo>
                <a:lnTo>
                  <a:pt x="190512" y="3281527"/>
                </a:lnTo>
                <a:lnTo>
                  <a:pt x="210731" y="3332327"/>
                </a:lnTo>
                <a:lnTo>
                  <a:pt x="231927" y="3370427"/>
                </a:lnTo>
                <a:lnTo>
                  <a:pt x="254101" y="3421227"/>
                </a:lnTo>
                <a:lnTo>
                  <a:pt x="277253" y="3459327"/>
                </a:lnTo>
                <a:lnTo>
                  <a:pt x="301358" y="3510127"/>
                </a:lnTo>
                <a:lnTo>
                  <a:pt x="326440" y="3548227"/>
                </a:lnTo>
                <a:lnTo>
                  <a:pt x="352463" y="3586327"/>
                </a:lnTo>
                <a:lnTo>
                  <a:pt x="379437" y="3637127"/>
                </a:lnTo>
                <a:lnTo>
                  <a:pt x="407352" y="3675227"/>
                </a:lnTo>
                <a:lnTo>
                  <a:pt x="436206" y="3713327"/>
                </a:lnTo>
                <a:lnTo>
                  <a:pt x="465988" y="3751427"/>
                </a:lnTo>
                <a:lnTo>
                  <a:pt x="496709" y="3789527"/>
                </a:lnTo>
                <a:lnTo>
                  <a:pt x="528345" y="3827627"/>
                </a:lnTo>
                <a:lnTo>
                  <a:pt x="560895" y="3865727"/>
                </a:lnTo>
                <a:lnTo>
                  <a:pt x="594360" y="3903827"/>
                </a:lnTo>
                <a:lnTo>
                  <a:pt x="628726" y="3941927"/>
                </a:lnTo>
                <a:lnTo>
                  <a:pt x="663994" y="3980027"/>
                </a:lnTo>
                <a:lnTo>
                  <a:pt x="700151" y="4018127"/>
                </a:lnTo>
                <a:lnTo>
                  <a:pt x="2822943" y="6075527"/>
                </a:lnTo>
                <a:lnTo>
                  <a:pt x="3342703" y="6075527"/>
                </a:lnTo>
                <a:lnTo>
                  <a:pt x="960056" y="3764127"/>
                </a:lnTo>
                <a:lnTo>
                  <a:pt x="923645" y="3726027"/>
                </a:lnTo>
                <a:lnTo>
                  <a:pt x="888314" y="3687927"/>
                </a:lnTo>
                <a:lnTo>
                  <a:pt x="854062" y="3649827"/>
                </a:lnTo>
                <a:lnTo>
                  <a:pt x="820902" y="3611727"/>
                </a:lnTo>
                <a:lnTo>
                  <a:pt x="788847" y="3573627"/>
                </a:lnTo>
                <a:lnTo>
                  <a:pt x="757897" y="3535527"/>
                </a:lnTo>
                <a:lnTo>
                  <a:pt x="728065" y="3497427"/>
                </a:lnTo>
                <a:lnTo>
                  <a:pt x="699350" y="3459327"/>
                </a:lnTo>
                <a:lnTo>
                  <a:pt x="671779" y="3408527"/>
                </a:lnTo>
                <a:lnTo>
                  <a:pt x="645350" y="3370427"/>
                </a:lnTo>
                <a:lnTo>
                  <a:pt x="620064" y="3332327"/>
                </a:lnTo>
                <a:lnTo>
                  <a:pt x="595934" y="3281527"/>
                </a:lnTo>
                <a:lnTo>
                  <a:pt x="572973" y="3243427"/>
                </a:lnTo>
                <a:lnTo>
                  <a:pt x="551180" y="3192627"/>
                </a:lnTo>
                <a:lnTo>
                  <a:pt x="530567" y="3154527"/>
                </a:lnTo>
                <a:lnTo>
                  <a:pt x="511136" y="3103727"/>
                </a:lnTo>
                <a:lnTo>
                  <a:pt x="492912" y="3052927"/>
                </a:lnTo>
                <a:lnTo>
                  <a:pt x="475894" y="3014827"/>
                </a:lnTo>
                <a:lnTo>
                  <a:pt x="460070" y="2964027"/>
                </a:lnTo>
                <a:lnTo>
                  <a:pt x="445477" y="2913227"/>
                </a:lnTo>
                <a:lnTo>
                  <a:pt x="432117" y="2875127"/>
                </a:lnTo>
                <a:lnTo>
                  <a:pt x="419989" y="2824327"/>
                </a:lnTo>
                <a:lnTo>
                  <a:pt x="409105" y="2773527"/>
                </a:lnTo>
                <a:lnTo>
                  <a:pt x="399465" y="2722727"/>
                </a:lnTo>
                <a:lnTo>
                  <a:pt x="391083" y="2671927"/>
                </a:lnTo>
                <a:lnTo>
                  <a:pt x="383971" y="2621127"/>
                </a:lnTo>
                <a:lnTo>
                  <a:pt x="378142" y="2570327"/>
                </a:lnTo>
                <a:lnTo>
                  <a:pt x="373595" y="2519527"/>
                </a:lnTo>
                <a:lnTo>
                  <a:pt x="370332" y="2468727"/>
                </a:lnTo>
                <a:lnTo>
                  <a:pt x="368363" y="2417927"/>
                </a:lnTo>
                <a:lnTo>
                  <a:pt x="367715" y="2379827"/>
                </a:lnTo>
                <a:lnTo>
                  <a:pt x="368363" y="2329027"/>
                </a:lnTo>
                <a:lnTo>
                  <a:pt x="370332" y="2278227"/>
                </a:lnTo>
                <a:lnTo>
                  <a:pt x="373595" y="2227427"/>
                </a:lnTo>
                <a:lnTo>
                  <a:pt x="378142" y="2176627"/>
                </a:lnTo>
                <a:lnTo>
                  <a:pt x="383971" y="2125827"/>
                </a:lnTo>
                <a:lnTo>
                  <a:pt x="391083" y="2075027"/>
                </a:lnTo>
                <a:lnTo>
                  <a:pt x="399465" y="2024227"/>
                </a:lnTo>
                <a:lnTo>
                  <a:pt x="409105" y="1973427"/>
                </a:lnTo>
                <a:lnTo>
                  <a:pt x="419989" y="1922627"/>
                </a:lnTo>
                <a:lnTo>
                  <a:pt x="432117" y="1871827"/>
                </a:lnTo>
                <a:lnTo>
                  <a:pt x="445477" y="1833727"/>
                </a:lnTo>
                <a:lnTo>
                  <a:pt x="460070" y="1782927"/>
                </a:lnTo>
                <a:lnTo>
                  <a:pt x="475894" y="1732127"/>
                </a:lnTo>
                <a:lnTo>
                  <a:pt x="492912" y="1694027"/>
                </a:lnTo>
                <a:lnTo>
                  <a:pt x="511136" y="1643227"/>
                </a:lnTo>
                <a:lnTo>
                  <a:pt x="530567" y="1592427"/>
                </a:lnTo>
                <a:lnTo>
                  <a:pt x="551180" y="1554327"/>
                </a:lnTo>
                <a:lnTo>
                  <a:pt x="572973" y="1503527"/>
                </a:lnTo>
                <a:lnTo>
                  <a:pt x="595934" y="1465427"/>
                </a:lnTo>
                <a:lnTo>
                  <a:pt x="620064" y="1414627"/>
                </a:lnTo>
                <a:lnTo>
                  <a:pt x="645350" y="1376527"/>
                </a:lnTo>
                <a:lnTo>
                  <a:pt x="671779" y="1338427"/>
                </a:lnTo>
                <a:lnTo>
                  <a:pt x="699350" y="1287627"/>
                </a:lnTo>
                <a:lnTo>
                  <a:pt x="728065" y="1249527"/>
                </a:lnTo>
                <a:lnTo>
                  <a:pt x="757897" y="1211427"/>
                </a:lnTo>
                <a:lnTo>
                  <a:pt x="788847" y="1173327"/>
                </a:lnTo>
                <a:lnTo>
                  <a:pt x="820902" y="1135227"/>
                </a:lnTo>
                <a:lnTo>
                  <a:pt x="854062" y="1097127"/>
                </a:lnTo>
                <a:lnTo>
                  <a:pt x="888314" y="1059027"/>
                </a:lnTo>
                <a:lnTo>
                  <a:pt x="923645" y="1020927"/>
                </a:lnTo>
                <a:lnTo>
                  <a:pt x="960056" y="982827"/>
                </a:lnTo>
                <a:lnTo>
                  <a:pt x="994651" y="944727"/>
                </a:lnTo>
                <a:lnTo>
                  <a:pt x="1029855" y="919327"/>
                </a:lnTo>
                <a:lnTo>
                  <a:pt x="1065631" y="881227"/>
                </a:lnTo>
                <a:lnTo>
                  <a:pt x="1101991" y="855827"/>
                </a:lnTo>
                <a:lnTo>
                  <a:pt x="1176337" y="805027"/>
                </a:lnTo>
                <a:lnTo>
                  <a:pt x="1214285" y="766927"/>
                </a:lnTo>
                <a:lnTo>
                  <a:pt x="1291666" y="716127"/>
                </a:lnTo>
                <a:lnTo>
                  <a:pt x="1370888" y="665327"/>
                </a:lnTo>
                <a:lnTo>
                  <a:pt x="1411147" y="652627"/>
                </a:lnTo>
                <a:lnTo>
                  <a:pt x="1492859" y="601827"/>
                </a:lnTo>
                <a:lnTo>
                  <a:pt x="1534274" y="589127"/>
                </a:lnTo>
                <a:lnTo>
                  <a:pt x="1576057" y="563727"/>
                </a:lnTo>
                <a:lnTo>
                  <a:pt x="1618157" y="551027"/>
                </a:lnTo>
                <a:lnTo>
                  <a:pt x="1660588" y="525627"/>
                </a:lnTo>
                <a:lnTo>
                  <a:pt x="2009190" y="424027"/>
                </a:lnTo>
                <a:lnTo>
                  <a:pt x="2053640" y="424027"/>
                </a:lnTo>
                <a:lnTo>
                  <a:pt x="2098243" y="411327"/>
                </a:lnTo>
                <a:lnTo>
                  <a:pt x="2142947" y="411327"/>
                </a:lnTo>
                <a:lnTo>
                  <a:pt x="2187752" y="398627"/>
                </a:lnTo>
                <a:lnTo>
                  <a:pt x="2232647" y="398627"/>
                </a:lnTo>
                <a:lnTo>
                  <a:pt x="2277605" y="385927"/>
                </a:lnTo>
                <a:lnTo>
                  <a:pt x="2592540" y="385927"/>
                </a:lnTo>
                <a:lnTo>
                  <a:pt x="2637345" y="398627"/>
                </a:lnTo>
                <a:lnTo>
                  <a:pt x="2682062" y="398627"/>
                </a:lnTo>
                <a:lnTo>
                  <a:pt x="2726652" y="411327"/>
                </a:lnTo>
                <a:lnTo>
                  <a:pt x="2771114" y="411327"/>
                </a:lnTo>
                <a:lnTo>
                  <a:pt x="2815425" y="424027"/>
                </a:lnTo>
                <a:lnTo>
                  <a:pt x="2859557" y="424027"/>
                </a:lnTo>
                <a:lnTo>
                  <a:pt x="3162173" y="512927"/>
                </a:lnTo>
                <a:lnTo>
                  <a:pt x="3204286" y="538327"/>
                </a:lnTo>
                <a:lnTo>
                  <a:pt x="3246069" y="551027"/>
                </a:lnTo>
                <a:lnTo>
                  <a:pt x="3287496" y="576427"/>
                </a:lnTo>
                <a:lnTo>
                  <a:pt x="3328555" y="589127"/>
                </a:lnTo>
                <a:lnTo>
                  <a:pt x="3369221" y="614527"/>
                </a:lnTo>
                <a:lnTo>
                  <a:pt x="3409480" y="627227"/>
                </a:lnTo>
                <a:lnTo>
                  <a:pt x="3488715" y="678027"/>
                </a:lnTo>
                <a:lnTo>
                  <a:pt x="3566109" y="728827"/>
                </a:lnTo>
                <a:lnTo>
                  <a:pt x="3641521" y="779627"/>
                </a:lnTo>
                <a:lnTo>
                  <a:pt x="3678428" y="817727"/>
                </a:lnTo>
                <a:lnTo>
                  <a:pt x="3714800" y="843127"/>
                </a:lnTo>
                <a:lnTo>
                  <a:pt x="3750589" y="868527"/>
                </a:lnTo>
                <a:lnTo>
                  <a:pt x="3785793" y="906627"/>
                </a:lnTo>
                <a:lnTo>
                  <a:pt x="3820401" y="932027"/>
                </a:lnTo>
                <a:lnTo>
                  <a:pt x="3897134" y="1008227"/>
                </a:lnTo>
                <a:lnTo>
                  <a:pt x="3897134" y="487527"/>
                </a:lnTo>
                <a:close/>
              </a:path>
              <a:path w="5816600" h="6075680">
                <a:moveTo>
                  <a:pt x="5565305" y="2377897"/>
                </a:moveTo>
                <a:lnTo>
                  <a:pt x="5564340" y="2334031"/>
                </a:lnTo>
                <a:lnTo>
                  <a:pt x="5554662" y="2291321"/>
                </a:lnTo>
                <a:lnTo>
                  <a:pt x="5536425" y="2252027"/>
                </a:lnTo>
                <a:lnTo>
                  <a:pt x="5509780" y="2218461"/>
                </a:lnTo>
                <a:lnTo>
                  <a:pt x="5470957" y="2190991"/>
                </a:lnTo>
                <a:lnTo>
                  <a:pt x="5427637" y="2177643"/>
                </a:lnTo>
                <a:lnTo>
                  <a:pt x="5382069" y="2177173"/>
                </a:lnTo>
                <a:lnTo>
                  <a:pt x="5336502" y="2188349"/>
                </a:lnTo>
                <a:lnTo>
                  <a:pt x="5293182" y="2209939"/>
                </a:lnTo>
                <a:lnTo>
                  <a:pt x="5254358" y="2240686"/>
                </a:lnTo>
                <a:lnTo>
                  <a:pt x="3897236" y="3560622"/>
                </a:lnTo>
                <a:lnTo>
                  <a:pt x="2540127" y="2240686"/>
                </a:lnTo>
                <a:lnTo>
                  <a:pt x="2501315" y="2209939"/>
                </a:lnTo>
                <a:lnTo>
                  <a:pt x="2457996" y="2188349"/>
                </a:lnTo>
                <a:lnTo>
                  <a:pt x="2412428" y="2177173"/>
                </a:lnTo>
                <a:lnTo>
                  <a:pt x="2366848" y="2177643"/>
                </a:lnTo>
                <a:lnTo>
                  <a:pt x="2323541" y="2190991"/>
                </a:lnTo>
                <a:lnTo>
                  <a:pt x="2284717" y="2218461"/>
                </a:lnTo>
                <a:lnTo>
                  <a:pt x="2258060" y="2252027"/>
                </a:lnTo>
                <a:lnTo>
                  <a:pt x="2239822" y="2291321"/>
                </a:lnTo>
                <a:lnTo>
                  <a:pt x="2230145" y="2334031"/>
                </a:lnTo>
                <a:lnTo>
                  <a:pt x="2229193" y="2377897"/>
                </a:lnTo>
                <a:lnTo>
                  <a:pt x="2237117" y="2420620"/>
                </a:lnTo>
                <a:lnTo>
                  <a:pt x="2254072" y="2459901"/>
                </a:lnTo>
                <a:lnTo>
                  <a:pt x="2280221" y="2493467"/>
                </a:lnTo>
                <a:lnTo>
                  <a:pt x="3897134" y="4066197"/>
                </a:lnTo>
                <a:lnTo>
                  <a:pt x="3897134" y="4066400"/>
                </a:lnTo>
                <a:lnTo>
                  <a:pt x="3897350" y="4066400"/>
                </a:lnTo>
                <a:lnTo>
                  <a:pt x="3897350" y="4066197"/>
                </a:lnTo>
                <a:lnTo>
                  <a:pt x="5514264" y="2493467"/>
                </a:lnTo>
                <a:lnTo>
                  <a:pt x="5540413" y="2459901"/>
                </a:lnTo>
                <a:lnTo>
                  <a:pt x="5557380" y="2420620"/>
                </a:lnTo>
                <a:lnTo>
                  <a:pt x="5565305" y="2377897"/>
                </a:lnTo>
                <a:close/>
              </a:path>
              <a:path w="5816600" h="6075680">
                <a:moveTo>
                  <a:pt x="5816460" y="4748174"/>
                </a:moveTo>
                <a:lnTo>
                  <a:pt x="4451782" y="6075527"/>
                </a:lnTo>
                <a:lnTo>
                  <a:pt x="4971542" y="6075527"/>
                </a:lnTo>
                <a:lnTo>
                  <a:pt x="5816460" y="5253736"/>
                </a:lnTo>
                <a:lnTo>
                  <a:pt x="5816460" y="4748174"/>
                </a:lnTo>
                <a:close/>
              </a:path>
              <a:path w="5816600" h="6075680">
                <a:moveTo>
                  <a:pt x="5816460" y="1578051"/>
                </a:moveTo>
                <a:lnTo>
                  <a:pt x="5762447" y="1552016"/>
                </a:lnTo>
                <a:lnTo>
                  <a:pt x="5719800" y="1534591"/>
                </a:lnTo>
                <a:lnTo>
                  <a:pt x="5676468" y="1519351"/>
                </a:lnTo>
                <a:lnTo>
                  <a:pt x="5632539" y="1506283"/>
                </a:lnTo>
                <a:lnTo>
                  <a:pt x="5588114" y="1495386"/>
                </a:lnTo>
                <a:lnTo>
                  <a:pt x="5543283" y="1486674"/>
                </a:lnTo>
                <a:lnTo>
                  <a:pt x="5498135" y="1480134"/>
                </a:lnTo>
                <a:lnTo>
                  <a:pt x="5452757" y="1475765"/>
                </a:lnTo>
                <a:lnTo>
                  <a:pt x="5407241" y="1473581"/>
                </a:lnTo>
                <a:lnTo>
                  <a:pt x="5361686" y="1473568"/>
                </a:lnTo>
                <a:lnTo>
                  <a:pt x="5316169" y="1475727"/>
                </a:lnTo>
                <a:lnTo>
                  <a:pt x="5270779" y="1480070"/>
                </a:lnTo>
                <a:lnTo>
                  <a:pt x="5225631" y="1486585"/>
                </a:lnTo>
                <a:lnTo>
                  <a:pt x="5180787" y="1495285"/>
                </a:lnTo>
                <a:lnTo>
                  <a:pt x="5136362" y="1506156"/>
                </a:lnTo>
                <a:lnTo>
                  <a:pt x="5092433" y="1519212"/>
                </a:lnTo>
                <a:lnTo>
                  <a:pt x="5049088" y="1534426"/>
                </a:lnTo>
                <a:lnTo>
                  <a:pt x="5006416" y="1551838"/>
                </a:lnTo>
                <a:lnTo>
                  <a:pt x="4964519" y="1571409"/>
                </a:lnTo>
                <a:lnTo>
                  <a:pt x="4923485" y="1593176"/>
                </a:lnTo>
                <a:lnTo>
                  <a:pt x="4883404" y="1617103"/>
                </a:lnTo>
                <a:lnTo>
                  <a:pt x="4844351" y="1643214"/>
                </a:lnTo>
                <a:lnTo>
                  <a:pt x="4806442" y="1671510"/>
                </a:lnTo>
                <a:lnTo>
                  <a:pt x="4769751" y="1701977"/>
                </a:lnTo>
                <a:lnTo>
                  <a:pt x="4734382" y="1734616"/>
                </a:lnTo>
                <a:lnTo>
                  <a:pt x="3897236" y="2548915"/>
                </a:lnTo>
                <a:lnTo>
                  <a:pt x="3060103" y="1734616"/>
                </a:lnTo>
                <a:lnTo>
                  <a:pt x="3024733" y="1701977"/>
                </a:lnTo>
                <a:lnTo>
                  <a:pt x="2988043" y="1671510"/>
                </a:lnTo>
                <a:lnTo>
                  <a:pt x="2950133" y="1643214"/>
                </a:lnTo>
                <a:lnTo>
                  <a:pt x="2911094" y="1617103"/>
                </a:lnTo>
                <a:lnTo>
                  <a:pt x="2871000" y="1593176"/>
                </a:lnTo>
                <a:lnTo>
                  <a:pt x="2829966" y="1571409"/>
                </a:lnTo>
                <a:lnTo>
                  <a:pt x="2788069" y="1551838"/>
                </a:lnTo>
                <a:lnTo>
                  <a:pt x="2745409" y="1534426"/>
                </a:lnTo>
                <a:lnTo>
                  <a:pt x="2702064" y="1519212"/>
                </a:lnTo>
                <a:lnTo>
                  <a:pt x="2658135" y="1506156"/>
                </a:lnTo>
                <a:lnTo>
                  <a:pt x="2613698" y="1495285"/>
                </a:lnTo>
                <a:lnTo>
                  <a:pt x="2568854" y="1486585"/>
                </a:lnTo>
                <a:lnTo>
                  <a:pt x="2523706" y="1480070"/>
                </a:lnTo>
                <a:lnTo>
                  <a:pt x="2478328" y="1475727"/>
                </a:lnTo>
                <a:lnTo>
                  <a:pt x="2432812" y="1473568"/>
                </a:lnTo>
                <a:lnTo>
                  <a:pt x="2387244" y="1473581"/>
                </a:lnTo>
                <a:lnTo>
                  <a:pt x="2341740" y="1475765"/>
                </a:lnTo>
                <a:lnTo>
                  <a:pt x="2296363" y="1480134"/>
                </a:lnTo>
                <a:lnTo>
                  <a:pt x="2251214" y="1486674"/>
                </a:lnTo>
                <a:lnTo>
                  <a:pt x="2206371" y="1495386"/>
                </a:lnTo>
                <a:lnTo>
                  <a:pt x="2161959" y="1506283"/>
                </a:lnTo>
                <a:lnTo>
                  <a:pt x="2118029" y="1519351"/>
                </a:lnTo>
                <a:lnTo>
                  <a:pt x="2074697" y="1534591"/>
                </a:lnTo>
                <a:lnTo>
                  <a:pt x="2032038" y="1552016"/>
                </a:lnTo>
                <a:lnTo>
                  <a:pt x="1990153" y="1571612"/>
                </a:lnTo>
                <a:lnTo>
                  <a:pt x="1949132" y="1593380"/>
                </a:lnTo>
                <a:lnTo>
                  <a:pt x="1909064" y="1617332"/>
                </a:lnTo>
                <a:lnTo>
                  <a:pt x="1870036" y="1643456"/>
                </a:lnTo>
                <a:lnTo>
                  <a:pt x="1832140" y="1671751"/>
                </a:lnTo>
                <a:lnTo>
                  <a:pt x="1795475" y="1702219"/>
                </a:lnTo>
                <a:lnTo>
                  <a:pt x="1760118" y="1734870"/>
                </a:lnTo>
                <a:lnTo>
                  <a:pt x="1726552" y="1769275"/>
                </a:lnTo>
                <a:lnTo>
                  <a:pt x="1695221" y="1804949"/>
                </a:lnTo>
                <a:lnTo>
                  <a:pt x="1666125" y="1841817"/>
                </a:lnTo>
                <a:lnTo>
                  <a:pt x="1639265" y="1879790"/>
                </a:lnTo>
                <a:lnTo>
                  <a:pt x="1614652" y="1918766"/>
                </a:lnTo>
                <a:lnTo>
                  <a:pt x="1592262" y="1958682"/>
                </a:lnTo>
                <a:lnTo>
                  <a:pt x="1572133" y="1999424"/>
                </a:lnTo>
                <a:lnTo>
                  <a:pt x="1554226" y="2040915"/>
                </a:lnTo>
                <a:lnTo>
                  <a:pt x="1538554" y="2083066"/>
                </a:lnTo>
                <a:lnTo>
                  <a:pt x="1525130" y="2125789"/>
                </a:lnTo>
                <a:lnTo>
                  <a:pt x="1513941" y="2168995"/>
                </a:lnTo>
                <a:lnTo>
                  <a:pt x="1504988" y="2212594"/>
                </a:lnTo>
                <a:lnTo>
                  <a:pt x="1498269" y="2256510"/>
                </a:lnTo>
                <a:lnTo>
                  <a:pt x="1493799" y="2300643"/>
                </a:lnTo>
                <a:lnTo>
                  <a:pt x="1491564" y="2344902"/>
                </a:lnTo>
                <a:lnTo>
                  <a:pt x="1491564" y="2389213"/>
                </a:lnTo>
                <a:lnTo>
                  <a:pt x="1493799" y="2433472"/>
                </a:lnTo>
                <a:lnTo>
                  <a:pt x="1498269" y="2477605"/>
                </a:lnTo>
                <a:lnTo>
                  <a:pt x="1504988" y="2521521"/>
                </a:lnTo>
                <a:lnTo>
                  <a:pt x="1513941" y="2565120"/>
                </a:lnTo>
                <a:lnTo>
                  <a:pt x="1525130" y="2608326"/>
                </a:lnTo>
                <a:lnTo>
                  <a:pt x="1538554" y="2651048"/>
                </a:lnTo>
                <a:lnTo>
                  <a:pt x="1554226" y="2693200"/>
                </a:lnTo>
                <a:lnTo>
                  <a:pt x="1572133" y="2734691"/>
                </a:lnTo>
                <a:lnTo>
                  <a:pt x="1592262" y="2775432"/>
                </a:lnTo>
                <a:lnTo>
                  <a:pt x="1614652" y="2815336"/>
                </a:lnTo>
                <a:lnTo>
                  <a:pt x="1639265" y="2854325"/>
                </a:lnTo>
                <a:lnTo>
                  <a:pt x="1666125" y="2892285"/>
                </a:lnTo>
                <a:lnTo>
                  <a:pt x="1695221" y="2929153"/>
                </a:lnTo>
                <a:lnTo>
                  <a:pt x="1726552" y="2964840"/>
                </a:lnTo>
                <a:lnTo>
                  <a:pt x="1760118" y="2999244"/>
                </a:lnTo>
                <a:lnTo>
                  <a:pt x="3897134" y="5077841"/>
                </a:lnTo>
                <a:lnTo>
                  <a:pt x="3897134" y="5078057"/>
                </a:lnTo>
                <a:lnTo>
                  <a:pt x="3897363" y="5078057"/>
                </a:lnTo>
                <a:lnTo>
                  <a:pt x="3897363" y="5077841"/>
                </a:lnTo>
                <a:lnTo>
                  <a:pt x="5816460" y="3211207"/>
                </a:lnTo>
                <a:lnTo>
                  <a:pt x="5816460" y="2700007"/>
                </a:lnTo>
                <a:lnTo>
                  <a:pt x="5806618" y="2712402"/>
                </a:lnTo>
                <a:lnTo>
                  <a:pt x="5774461" y="2746476"/>
                </a:lnTo>
                <a:lnTo>
                  <a:pt x="3897236" y="4572254"/>
                </a:lnTo>
                <a:lnTo>
                  <a:pt x="2020023" y="2746476"/>
                </a:lnTo>
                <a:lnTo>
                  <a:pt x="1987880" y="2712402"/>
                </a:lnTo>
                <a:lnTo>
                  <a:pt x="1959292" y="2676385"/>
                </a:lnTo>
                <a:lnTo>
                  <a:pt x="1934286" y="2638641"/>
                </a:lnTo>
                <a:lnTo>
                  <a:pt x="1912861" y="2599398"/>
                </a:lnTo>
                <a:lnTo>
                  <a:pt x="1894992" y="2558897"/>
                </a:lnTo>
                <a:lnTo>
                  <a:pt x="1880704" y="2517356"/>
                </a:lnTo>
                <a:lnTo>
                  <a:pt x="1869986" y="2475014"/>
                </a:lnTo>
                <a:lnTo>
                  <a:pt x="1862848" y="2432100"/>
                </a:lnTo>
                <a:lnTo>
                  <a:pt x="1859267" y="2388844"/>
                </a:lnTo>
                <a:lnTo>
                  <a:pt x="1859267" y="2345461"/>
                </a:lnTo>
                <a:lnTo>
                  <a:pt x="1862848" y="2302192"/>
                </a:lnTo>
                <a:lnTo>
                  <a:pt x="1869986" y="2259266"/>
                </a:lnTo>
                <a:lnTo>
                  <a:pt x="1880704" y="2216912"/>
                </a:lnTo>
                <a:lnTo>
                  <a:pt x="1894992" y="2175370"/>
                </a:lnTo>
                <a:lnTo>
                  <a:pt x="1912861" y="2134844"/>
                </a:lnTo>
                <a:lnTo>
                  <a:pt x="1934286" y="2095588"/>
                </a:lnTo>
                <a:lnTo>
                  <a:pt x="1959292" y="2057806"/>
                </a:lnTo>
                <a:lnTo>
                  <a:pt x="1987880" y="2021751"/>
                </a:lnTo>
                <a:lnTo>
                  <a:pt x="2020023" y="1987651"/>
                </a:lnTo>
                <a:lnTo>
                  <a:pt x="2055075" y="1956371"/>
                </a:lnTo>
                <a:lnTo>
                  <a:pt x="2092134" y="1928558"/>
                </a:lnTo>
                <a:lnTo>
                  <a:pt x="2130958" y="1904238"/>
                </a:lnTo>
                <a:lnTo>
                  <a:pt x="2171319" y="1883384"/>
                </a:lnTo>
                <a:lnTo>
                  <a:pt x="2212962" y="1865998"/>
                </a:lnTo>
                <a:lnTo>
                  <a:pt x="2255672" y="1852104"/>
                </a:lnTo>
                <a:lnTo>
                  <a:pt x="2299208" y="1841677"/>
                </a:lnTo>
                <a:lnTo>
                  <a:pt x="2343340" y="1834718"/>
                </a:lnTo>
                <a:lnTo>
                  <a:pt x="2387816" y="1831251"/>
                </a:lnTo>
                <a:lnTo>
                  <a:pt x="2432405" y="1831251"/>
                </a:lnTo>
                <a:lnTo>
                  <a:pt x="2476893" y="1834718"/>
                </a:lnTo>
                <a:lnTo>
                  <a:pt x="2521013" y="1841677"/>
                </a:lnTo>
                <a:lnTo>
                  <a:pt x="2564549" y="1852104"/>
                </a:lnTo>
                <a:lnTo>
                  <a:pt x="2607259" y="1865998"/>
                </a:lnTo>
                <a:lnTo>
                  <a:pt x="2648915" y="1883384"/>
                </a:lnTo>
                <a:lnTo>
                  <a:pt x="2689263" y="1904238"/>
                </a:lnTo>
                <a:lnTo>
                  <a:pt x="2728087" y="1928558"/>
                </a:lnTo>
                <a:lnTo>
                  <a:pt x="2765145" y="1956371"/>
                </a:lnTo>
                <a:lnTo>
                  <a:pt x="2800197" y="1987651"/>
                </a:lnTo>
                <a:lnTo>
                  <a:pt x="3897134" y="3054515"/>
                </a:lnTo>
                <a:lnTo>
                  <a:pt x="3897134" y="3054731"/>
                </a:lnTo>
                <a:lnTo>
                  <a:pt x="3897363" y="3054731"/>
                </a:lnTo>
                <a:lnTo>
                  <a:pt x="3897363" y="3054515"/>
                </a:lnTo>
                <a:lnTo>
                  <a:pt x="4994287" y="1987651"/>
                </a:lnTo>
                <a:lnTo>
                  <a:pt x="5029339" y="1956371"/>
                </a:lnTo>
                <a:lnTo>
                  <a:pt x="5066398" y="1928558"/>
                </a:lnTo>
                <a:lnTo>
                  <a:pt x="5105222" y="1904238"/>
                </a:lnTo>
                <a:lnTo>
                  <a:pt x="5145583" y="1883384"/>
                </a:lnTo>
                <a:lnTo>
                  <a:pt x="5187226" y="1865998"/>
                </a:lnTo>
                <a:lnTo>
                  <a:pt x="5229936" y="1852104"/>
                </a:lnTo>
                <a:lnTo>
                  <a:pt x="5273472" y="1841677"/>
                </a:lnTo>
                <a:lnTo>
                  <a:pt x="5317604" y="1834718"/>
                </a:lnTo>
                <a:lnTo>
                  <a:pt x="5362079" y="1831251"/>
                </a:lnTo>
                <a:lnTo>
                  <a:pt x="5406669" y="1831251"/>
                </a:lnTo>
                <a:lnTo>
                  <a:pt x="5451157" y="1834718"/>
                </a:lnTo>
                <a:lnTo>
                  <a:pt x="5495277" y="1841677"/>
                </a:lnTo>
                <a:lnTo>
                  <a:pt x="5538813" y="1852104"/>
                </a:lnTo>
                <a:lnTo>
                  <a:pt x="5581523" y="1865998"/>
                </a:lnTo>
                <a:lnTo>
                  <a:pt x="5623179" y="1883384"/>
                </a:lnTo>
                <a:lnTo>
                  <a:pt x="5663527" y="1904238"/>
                </a:lnTo>
                <a:lnTo>
                  <a:pt x="5702351" y="1928558"/>
                </a:lnTo>
                <a:lnTo>
                  <a:pt x="5739409" y="1956371"/>
                </a:lnTo>
                <a:lnTo>
                  <a:pt x="5774461" y="1987651"/>
                </a:lnTo>
                <a:lnTo>
                  <a:pt x="5806618" y="2021751"/>
                </a:lnTo>
                <a:lnTo>
                  <a:pt x="5816460" y="2034171"/>
                </a:lnTo>
                <a:lnTo>
                  <a:pt x="5816460" y="1831251"/>
                </a:lnTo>
                <a:lnTo>
                  <a:pt x="5816460" y="1578051"/>
                </a:lnTo>
                <a:close/>
              </a:path>
              <a:path w="5816600" h="6075680">
                <a:moveTo>
                  <a:pt x="5816460" y="812927"/>
                </a:moveTo>
                <a:lnTo>
                  <a:pt x="5734024" y="793445"/>
                </a:lnTo>
                <a:lnTo>
                  <a:pt x="5685104" y="784021"/>
                </a:lnTo>
                <a:lnTo>
                  <a:pt x="5635790" y="776020"/>
                </a:lnTo>
                <a:lnTo>
                  <a:pt x="5586107" y="769442"/>
                </a:lnTo>
                <a:lnTo>
                  <a:pt x="5536095" y="764311"/>
                </a:lnTo>
                <a:lnTo>
                  <a:pt x="5485765" y="760641"/>
                </a:lnTo>
                <a:lnTo>
                  <a:pt x="5435143" y="758418"/>
                </a:lnTo>
                <a:lnTo>
                  <a:pt x="5384266" y="757682"/>
                </a:lnTo>
                <a:lnTo>
                  <a:pt x="5333390" y="758418"/>
                </a:lnTo>
                <a:lnTo>
                  <a:pt x="5282768" y="760641"/>
                </a:lnTo>
                <a:lnTo>
                  <a:pt x="5232438" y="764324"/>
                </a:lnTo>
                <a:lnTo>
                  <a:pt x="5182425" y="769454"/>
                </a:lnTo>
                <a:lnTo>
                  <a:pt x="5132743" y="776033"/>
                </a:lnTo>
                <a:lnTo>
                  <a:pt x="5083441" y="784047"/>
                </a:lnTo>
                <a:lnTo>
                  <a:pt x="5034521" y="793483"/>
                </a:lnTo>
                <a:lnTo>
                  <a:pt x="4986007" y="804341"/>
                </a:lnTo>
                <a:lnTo>
                  <a:pt x="4937950" y="816584"/>
                </a:lnTo>
                <a:lnTo>
                  <a:pt x="4890363" y="830224"/>
                </a:lnTo>
                <a:lnTo>
                  <a:pt x="4843284" y="845248"/>
                </a:lnTo>
                <a:lnTo>
                  <a:pt x="4796714" y="861644"/>
                </a:lnTo>
                <a:lnTo>
                  <a:pt x="4750689" y="879398"/>
                </a:lnTo>
                <a:lnTo>
                  <a:pt x="4705248" y="898486"/>
                </a:lnTo>
                <a:lnTo>
                  <a:pt x="4660404" y="918933"/>
                </a:lnTo>
                <a:lnTo>
                  <a:pt x="4616196" y="940701"/>
                </a:lnTo>
                <a:lnTo>
                  <a:pt x="4572635" y="963777"/>
                </a:lnTo>
                <a:lnTo>
                  <a:pt x="4529760" y="988174"/>
                </a:lnTo>
                <a:lnTo>
                  <a:pt x="4487583" y="1013853"/>
                </a:lnTo>
                <a:lnTo>
                  <a:pt x="4446143" y="1040828"/>
                </a:lnTo>
                <a:lnTo>
                  <a:pt x="4405452" y="1069073"/>
                </a:lnTo>
                <a:lnTo>
                  <a:pt x="4365561" y="1098575"/>
                </a:lnTo>
                <a:lnTo>
                  <a:pt x="4326471" y="1129347"/>
                </a:lnTo>
                <a:lnTo>
                  <a:pt x="4288218" y="1161351"/>
                </a:lnTo>
                <a:lnTo>
                  <a:pt x="4250829" y="1194587"/>
                </a:lnTo>
                <a:lnTo>
                  <a:pt x="4214342" y="1229055"/>
                </a:lnTo>
                <a:lnTo>
                  <a:pt x="3897249" y="1537449"/>
                </a:lnTo>
                <a:lnTo>
                  <a:pt x="3580155" y="1229055"/>
                </a:lnTo>
                <a:lnTo>
                  <a:pt x="3543630" y="1194562"/>
                </a:lnTo>
                <a:lnTo>
                  <a:pt x="3506216" y="1161300"/>
                </a:lnTo>
                <a:lnTo>
                  <a:pt x="3467938" y="1129271"/>
                </a:lnTo>
                <a:lnTo>
                  <a:pt x="3428822" y="1098499"/>
                </a:lnTo>
                <a:lnTo>
                  <a:pt x="3389033" y="1069073"/>
                </a:lnTo>
                <a:lnTo>
                  <a:pt x="3348355" y="1040828"/>
                </a:lnTo>
                <a:lnTo>
                  <a:pt x="3306915" y="1013853"/>
                </a:lnTo>
                <a:lnTo>
                  <a:pt x="3264738" y="988174"/>
                </a:lnTo>
                <a:lnTo>
                  <a:pt x="3221863" y="963777"/>
                </a:lnTo>
                <a:lnTo>
                  <a:pt x="3178302" y="940701"/>
                </a:lnTo>
                <a:lnTo>
                  <a:pt x="3134080" y="918933"/>
                </a:lnTo>
                <a:lnTo>
                  <a:pt x="3089237" y="898486"/>
                </a:lnTo>
                <a:lnTo>
                  <a:pt x="3043796" y="879398"/>
                </a:lnTo>
                <a:lnTo>
                  <a:pt x="2997784" y="861644"/>
                </a:lnTo>
                <a:lnTo>
                  <a:pt x="2951213" y="845248"/>
                </a:lnTo>
                <a:lnTo>
                  <a:pt x="2904121" y="830224"/>
                </a:lnTo>
                <a:lnTo>
                  <a:pt x="2856534" y="816584"/>
                </a:lnTo>
                <a:lnTo>
                  <a:pt x="2808478" y="804341"/>
                </a:lnTo>
                <a:lnTo>
                  <a:pt x="2759976" y="793483"/>
                </a:lnTo>
                <a:lnTo>
                  <a:pt x="2711056" y="784047"/>
                </a:lnTo>
                <a:lnTo>
                  <a:pt x="2661742" y="776033"/>
                </a:lnTo>
                <a:lnTo>
                  <a:pt x="2612072" y="769454"/>
                </a:lnTo>
                <a:lnTo>
                  <a:pt x="2561933" y="764311"/>
                </a:lnTo>
                <a:lnTo>
                  <a:pt x="2511628" y="760641"/>
                </a:lnTo>
                <a:lnTo>
                  <a:pt x="2461031" y="758418"/>
                </a:lnTo>
                <a:lnTo>
                  <a:pt x="2410218" y="757682"/>
                </a:lnTo>
                <a:lnTo>
                  <a:pt x="2359317" y="758418"/>
                </a:lnTo>
                <a:lnTo>
                  <a:pt x="2308669" y="760641"/>
                </a:lnTo>
                <a:lnTo>
                  <a:pt x="2258314" y="764324"/>
                </a:lnTo>
                <a:lnTo>
                  <a:pt x="2208263" y="769454"/>
                </a:lnTo>
                <a:lnTo>
                  <a:pt x="2158695" y="776020"/>
                </a:lnTo>
                <a:lnTo>
                  <a:pt x="2109393" y="784021"/>
                </a:lnTo>
                <a:lnTo>
                  <a:pt x="2060473" y="793445"/>
                </a:lnTo>
                <a:lnTo>
                  <a:pt x="2011959" y="804291"/>
                </a:lnTo>
                <a:lnTo>
                  <a:pt x="1963902" y="816533"/>
                </a:lnTo>
                <a:lnTo>
                  <a:pt x="1916315" y="830160"/>
                </a:lnTo>
                <a:lnTo>
                  <a:pt x="1869224" y="845172"/>
                </a:lnTo>
                <a:lnTo>
                  <a:pt x="1822653" y="861555"/>
                </a:lnTo>
                <a:lnTo>
                  <a:pt x="1776628" y="879297"/>
                </a:lnTo>
                <a:lnTo>
                  <a:pt x="1731175" y="898398"/>
                </a:lnTo>
                <a:lnTo>
                  <a:pt x="1686331" y="918819"/>
                </a:lnTo>
                <a:lnTo>
                  <a:pt x="1642097" y="940587"/>
                </a:lnTo>
                <a:lnTo>
                  <a:pt x="1598536" y="963663"/>
                </a:lnTo>
                <a:lnTo>
                  <a:pt x="1555635" y="988060"/>
                </a:lnTo>
                <a:lnTo>
                  <a:pt x="1513459" y="1013739"/>
                </a:lnTo>
                <a:lnTo>
                  <a:pt x="1471993" y="1040726"/>
                </a:lnTo>
                <a:lnTo>
                  <a:pt x="1431302" y="1068971"/>
                </a:lnTo>
                <a:lnTo>
                  <a:pt x="1391285" y="1098575"/>
                </a:lnTo>
                <a:lnTo>
                  <a:pt x="1352194" y="1129347"/>
                </a:lnTo>
                <a:lnTo>
                  <a:pt x="1313954" y="1161351"/>
                </a:lnTo>
                <a:lnTo>
                  <a:pt x="1276565" y="1194587"/>
                </a:lnTo>
                <a:lnTo>
                  <a:pt x="1240078" y="1229055"/>
                </a:lnTo>
                <a:lnTo>
                  <a:pt x="1206131" y="1263040"/>
                </a:lnTo>
                <a:lnTo>
                  <a:pt x="1173416" y="1297762"/>
                </a:lnTo>
                <a:lnTo>
                  <a:pt x="1141933" y="1333182"/>
                </a:lnTo>
                <a:lnTo>
                  <a:pt x="1111681" y="1369275"/>
                </a:lnTo>
                <a:lnTo>
                  <a:pt x="1082675" y="1406004"/>
                </a:lnTo>
                <a:lnTo>
                  <a:pt x="1054900" y="1443367"/>
                </a:lnTo>
                <a:lnTo>
                  <a:pt x="1028357" y="1481302"/>
                </a:lnTo>
                <a:lnTo>
                  <a:pt x="1003046" y="1519821"/>
                </a:lnTo>
                <a:lnTo>
                  <a:pt x="978966" y="1558874"/>
                </a:lnTo>
                <a:lnTo>
                  <a:pt x="956132" y="1598434"/>
                </a:lnTo>
                <a:lnTo>
                  <a:pt x="934529" y="1638477"/>
                </a:lnTo>
                <a:lnTo>
                  <a:pt x="914158" y="1678978"/>
                </a:lnTo>
                <a:lnTo>
                  <a:pt x="895019" y="1719910"/>
                </a:lnTo>
                <a:lnTo>
                  <a:pt x="877125" y="1761248"/>
                </a:lnTo>
                <a:lnTo>
                  <a:pt x="860450" y="1802968"/>
                </a:lnTo>
                <a:lnTo>
                  <a:pt x="845019" y="1845030"/>
                </a:lnTo>
                <a:lnTo>
                  <a:pt x="830821" y="1887410"/>
                </a:lnTo>
                <a:lnTo>
                  <a:pt x="817867" y="1930095"/>
                </a:lnTo>
                <a:lnTo>
                  <a:pt x="806132" y="1973046"/>
                </a:lnTo>
                <a:lnTo>
                  <a:pt x="795642" y="2016239"/>
                </a:lnTo>
                <a:lnTo>
                  <a:pt x="786384" y="2059647"/>
                </a:lnTo>
                <a:lnTo>
                  <a:pt x="778357" y="2103234"/>
                </a:lnTo>
                <a:lnTo>
                  <a:pt x="771563" y="2146998"/>
                </a:lnTo>
                <a:lnTo>
                  <a:pt x="766013" y="2190889"/>
                </a:lnTo>
                <a:lnTo>
                  <a:pt x="761695" y="2234882"/>
                </a:lnTo>
                <a:lnTo>
                  <a:pt x="758609" y="2278964"/>
                </a:lnTo>
                <a:lnTo>
                  <a:pt x="756754" y="2323096"/>
                </a:lnTo>
                <a:lnTo>
                  <a:pt x="756132" y="2367254"/>
                </a:lnTo>
                <a:lnTo>
                  <a:pt x="756754" y="2411412"/>
                </a:lnTo>
                <a:lnTo>
                  <a:pt x="758609" y="2455545"/>
                </a:lnTo>
                <a:lnTo>
                  <a:pt x="761695" y="2499626"/>
                </a:lnTo>
                <a:lnTo>
                  <a:pt x="766013" y="2543619"/>
                </a:lnTo>
                <a:lnTo>
                  <a:pt x="771563" y="2587510"/>
                </a:lnTo>
                <a:lnTo>
                  <a:pt x="778357" y="2631262"/>
                </a:lnTo>
                <a:lnTo>
                  <a:pt x="786384" y="2674848"/>
                </a:lnTo>
                <a:lnTo>
                  <a:pt x="795642" y="2718257"/>
                </a:lnTo>
                <a:lnTo>
                  <a:pt x="806132" y="2761450"/>
                </a:lnTo>
                <a:lnTo>
                  <a:pt x="817867" y="2804388"/>
                </a:lnTo>
                <a:lnTo>
                  <a:pt x="830821" y="2847073"/>
                </a:lnTo>
                <a:lnTo>
                  <a:pt x="845019" y="2889453"/>
                </a:lnTo>
                <a:lnTo>
                  <a:pt x="860450" y="2931503"/>
                </a:lnTo>
                <a:lnTo>
                  <a:pt x="877125" y="2973209"/>
                </a:lnTo>
                <a:lnTo>
                  <a:pt x="895019" y="3014535"/>
                </a:lnTo>
                <a:lnTo>
                  <a:pt x="914158" y="3055467"/>
                </a:lnTo>
                <a:lnTo>
                  <a:pt x="934529" y="3095955"/>
                </a:lnTo>
                <a:lnTo>
                  <a:pt x="956132" y="3135998"/>
                </a:lnTo>
                <a:lnTo>
                  <a:pt x="978966" y="3175546"/>
                </a:lnTo>
                <a:lnTo>
                  <a:pt x="1003046" y="3214586"/>
                </a:lnTo>
                <a:lnTo>
                  <a:pt x="1028357" y="3253092"/>
                </a:lnTo>
                <a:lnTo>
                  <a:pt x="1054900" y="3291027"/>
                </a:lnTo>
                <a:lnTo>
                  <a:pt x="1082675" y="3328365"/>
                </a:lnTo>
                <a:lnTo>
                  <a:pt x="1111681" y="3365093"/>
                </a:lnTo>
                <a:lnTo>
                  <a:pt x="1141933" y="3401174"/>
                </a:lnTo>
                <a:lnTo>
                  <a:pt x="1173416" y="3436582"/>
                </a:lnTo>
                <a:lnTo>
                  <a:pt x="1206131" y="3471291"/>
                </a:lnTo>
                <a:lnTo>
                  <a:pt x="1240078" y="3505263"/>
                </a:lnTo>
                <a:lnTo>
                  <a:pt x="3882771" y="6075527"/>
                </a:lnTo>
                <a:lnTo>
                  <a:pt x="3897134" y="6075527"/>
                </a:lnTo>
                <a:lnTo>
                  <a:pt x="3897363" y="6075527"/>
                </a:lnTo>
                <a:lnTo>
                  <a:pt x="3911714" y="6075527"/>
                </a:lnTo>
                <a:lnTo>
                  <a:pt x="5816460" y="4222991"/>
                </a:lnTo>
                <a:lnTo>
                  <a:pt x="5816460" y="3717226"/>
                </a:lnTo>
                <a:lnTo>
                  <a:pt x="3897249" y="5583974"/>
                </a:lnTo>
                <a:lnTo>
                  <a:pt x="1499984" y="3252241"/>
                </a:lnTo>
                <a:lnTo>
                  <a:pt x="1465795" y="3217697"/>
                </a:lnTo>
                <a:lnTo>
                  <a:pt x="1433233" y="3182213"/>
                </a:lnTo>
                <a:lnTo>
                  <a:pt x="1402295" y="3145828"/>
                </a:lnTo>
                <a:lnTo>
                  <a:pt x="1372984" y="3108579"/>
                </a:lnTo>
                <a:lnTo>
                  <a:pt x="1345311" y="3070529"/>
                </a:lnTo>
                <a:lnTo>
                  <a:pt x="1319263" y="3031718"/>
                </a:lnTo>
                <a:lnTo>
                  <a:pt x="1294841" y="2992196"/>
                </a:lnTo>
                <a:lnTo>
                  <a:pt x="1272044" y="2952000"/>
                </a:lnTo>
                <a:lnTo>
                  <a:pt x="1250873" y="2911170"/>
                </a:lnTo>
                <a:lnTo>
                  <a:pt x="1231341" y="2869781"/>
                </a:lnTo>
                <a:lnTo>
                  <a:pt x="1213434" y="2827845"/>
                </a:lnTo>
                <a:lnTo>
                  <a:pt x="1197152" y="2785427"/>
                </a:lnTo>
                <a:lnTo>
                  <a:pt x="1182497" y="2742577"/>
                </a:lnTo>
                <a:lnTo>
                  <a:pt x="1169466" y="2699334"/>
                </a:lnTo>
                <a:lnTo>
                  <a:pt x="1158074" y="2655735"/>
                </a:lnTo>
                <a:lnTo>
                  <a:pt x="1148308" y="2611844"/>
                </a:lnTo>
                <a:lnTo>
                  <a:pt x="1140167" y="2567698"/>
                </a:lnTo>
                <a:lnTo>
                  <a:pt x="1133652" y="2523337"/>
                </a:lnTo>
                <a:lnTo>
                  <a:pt x="1128763" y="2478824"/>
                </a:lnTo>
                <a:lnTo>
                  <a:pt x="1125512" y="2434196"/>
                </a:lnTo>
                <a:lnTo>
                  <a:pt x="1123886" y="2389492"/>
                </a:lnTo>
                <a:lnTo>
                  <a:pt x="1123886" y="2344763"/>
                </a:lnTo>
                <a:lnTo>
                  <a:pt x="1125512" y="2300059"/>
                </a:lnTo>
                <a:lnTo>
                  <a:pt x="1128763" y="2255431"/>
                </a:lnTo>
                <a:lnTo>
                  <a:pt x="1133652" y="2210905"/>
                </a:lnTo>
                <a:lnTo>
                  <a:pt x="1140167" y="2166543"/>
                </a:lnTo>
                <a:lnTo>
                  <a:pt x="1148308" y="2122398"/>
                </a:lnTo>
                <a:lnTo>
                  <a:pt x="1158074" y="2078494"/>
                </a:lnTo>
                <a:lnTo>
                  <a:pt x="1169466" y="2034895"/>
                </a:lnTo>
                <a:lnTo>
                  <a:pt x="1182497" y="1991652"/>
                </a:lnTo>
                <a:lnTo>
                  <a:pt x="1197152" y="1948789"/>
                </a:lnTo>
                <a:lnTo>
                  <a:pt x="1213434" y="1906358"/>
                </a:lnTo>
                <a:lnTo>
                  <a:pt x="1231341" y="1864423"/>
                </a:lnTo>
                <a:lnTo>
                  <a:pt x="1250873" y="1823021"/>
                </a:lnTo>
                <a:lnTo>
                  <a:pt x="1272044" y="1782191"/>
                </a:lnTo>
                <a:lnTo>
                  <a:pt x="1294841" y="1741982"/>
                </a:lnTo>
                <a:lnTo>
                  <a:pt x="1319263" y="1702435"/>
                </a:lnTo>
                <a:lnTo>
                  <a:pt x="1345311" y="1663611"/>
                </a:lnTo>
                <a:lnTo>
                  <a:pt x="1372984" y="1625549"/>
                </a:lnTo>
                <a:lnTo>
                  <a:pt x="1402295" y="1588287"/>
                </a:lnTo>
                <a:lnTo>
                  <a:pt x="1433233" y="1551889"/>
                </a:lnTo>
                <a:lnTo>
                  <a:pt x="1465795" y="1516380"/>
                </a:lnTo>
                <a:lnTo>
                  <a:pt x="1499984" y="1481823"/>
                </a:lnTo>
                <a:lnTo>
                  <a:pt x="1537055" y="1447177"/>
                </a:lnTo>
                <a:lnTo>
                  <a:pt x="1575269" y="1414145"/>
                </a:lnTo>
                <a:lnTo>
                  <a:pt x="1614614" y="1382725"/>
                </a:lnTo>
                <a:lnTo>
                  <a:pt x="1655013" y="1352969"/>
                </a:lnTo>
                <a:lnTo>
                  <a:pt x="1696427" y="1324864"/>
                </a:lnTo>
                <a:lnTo>
                  <a:pt x="1738833" y="1298435"/>
                </a:lnTo>
                <a:lnTo>
                  <a:pt x="1782165" y="1273721"/>
                </a:lnTo>
                <a:lnTo>
                  <a:pt x="1826387" y="1250708"/>
                </a:lnTo>
                <a:lnTo>
                  <a:pt x="1871459" y="1229448"/>
                </a:lnTo>
                <a:lnTo>
                  <a:pt x="1917331" y="1209929"/>
                </a:lnTo>
                <a:lnTo>
                  <a:pt x="1963953" y="1192187"/>
                </a:lnTo>
                <a:lnTo>
                  <a:pt x="2011286" y="1176235"/>
                </a:lnTo>
                <a:lnTo>
                  <a:pt x="2059279" y="1162100"/>
                </a:lnTo>
                <a:lnTo>
                  <a:pt x="2107908" y="1149781"/>
                </a:lnTo>
                <a:lnTo>
                  <a:pt x="2157107" y="1139304"/>
                </a:lnTo>
                <a:lnTo>
                  <a:pt x="2206841" y="1130706"/>
                </a:lnTo>
                <a:lnTo>
                  <a:pt x="2257069" y="1123975"/>
                </a:lnTo>
                <a:lnTo>
                  <a:pt x="2307729" y="1119149"/>
                </a:lnTo>
                <a:lnTo>
                  <a:pt x="2358796" y="1116241"/>
                </a:lnTo>
                <a:lnTo>
                  <a:pt x="2410218" y="1115263"/>
                </a:lnTo>
                <a:lnTo>
                  <a:pt x="2461615" y="1116241"/>
                </a:lnTo>
                <a:lnTo>
                  <a:pt x="2512657" y="1119149"/>
                </a:lnTo>
                <a:lnTo>
                  <a:pt x="2563291" y="1123975"/>
                </a:lnTo>
                <a:lnTo>
                  <a:pt x="2613495" y="1130706"/>
                </a:lnTo>
                <a:lnTo>
                  <a:pt x="2663215" y="1139304"/>
                </a:lnTo>
                <a:lnTo>
                  <a:pt x="2712389" y="1149781"/>
                </a:lnTo>
                <a:lnTo>
                  <a:pt x="2761005" y="1162100"/>
                </a:lnTo>
                <a:lnTo>
                  <a:pt x="2808986" y="1176235"/>
                </a:lnTo>
                <a:lnTo>
                  <a:pt x="2856319" y="1192187"/>
                </a:lnTo>
                <a:lnTo>
                  <a:pt x="2902928" y="1209929"/>
                </a:lnTo>
                <a:lnTo>
                  <a:pt x="2948787" y="1229448"/>
                </a:lnTo>
                <a:lnTo>
                  <a:pt x="2993847" y="1250708"/>
                </a:lnTo>
                <a:lnTo>
                  <a:pt x="3038068" y="1273721"/>
                </a:lnTo>
                <a:lnTo>
                  <a:pt x="3081401" y="1298435"/>
                </a:lnTo>
                <a:lnTo>
                  <a:pt x="3123793" y="1324864"/>
                </a:lnTo>
                <a:lnTo>
                  <a:pt x="3165221" y="1352969"/>
                </a:lnTo>
                <a:lnTo>
                  <a:pt x="3205619" y="1382725"/>
                </a:lnTo>
                <a:lnTo>
                  <a:pt x="3244951" y="1414145"/>
                </a:lnTo>
                <a:lnTo>
                  <a:pt x="3283178" y="1447177"/>
                </a:lnTo>
                <a:lnTo>
                  <a:pt x="3320250" y="1481823"/>
                </a:lnTo>
                <a:lnTo>
                  <a:pt x="3897134" y="2042909"/>
                </a:lnTo>
                <a:lnTo>
                  <a:pt x="3897134" y="2043125"/>
                </a:lnTo>
                <a:lnTo>
                  <a:pt x="3897363" y="2043125"/>
                </a:lnTo>
                <a:lnTo>
                  <a:pt x="3897363" y="2042909"/>
                </a:lnTo>
                <a:lnTo>
                  <a:pt x="4474248" y="1481823"/>
                </a:lnTo>
                <a:lnTo>
                  <a:pt x="4511319" y="1447177"/>
                </a:lnTo>
                <a:lnTo>
                  <a:pt x="4549533" y="1414145"/>
                </a:lnTo>
                <a:lnTo>
                  <a:pt x="4588865" y="1382725"/>
                </a:lnTo>
                <a:lnTo>
                  <a:pt x="4629264" y="1352969"/>
                </a:lnTo>
                <a:lnTo>
                  <a:pt x="4670691" y="1324864"/>
                </a:lnTo>
                <a:lnTo>
                  <a:pt x="4713084" y="1298435"/>
                </a:lnTo>
                <a:lnTo>
                  <a:pt x="4756416" y="1273721"/>
                </a:lnTo>
                <a:lnTo>
                  <a:pt x="4800638" y="1250708"/>
                </a:lnTo>
                <a:lnTo>
                  <a:pt x="4845697" y="1229448"/>
                </a:lnTo>
                <a:lnTo>
                  <a:pt x="4891557" y="1209929"/>
                </a:lnTo>
                <a:lnTo>
                  <a:pt x="4938179" y="1192187"/>
                </a:lnTo>
                <a:lnTo>
                  <a:pt x="4985499" y="1176235"/>
                </a:lnTo>
                <a:lnTo>
                  <a:pt x="5033492" y="1162100"/>
                </a:lnTo>
                <a:lnTo>
                  <a:pt x="5082095" y="1149781"/>
                </a:lnTo>
                <a:lnTo>
                  <a:pt x="5131282" y="1139304"/>
                </a:lnTo>
                <a:lnTo>
                  <a:pt x="5180990" y="1130706"/>
                </a:lnTo>
                <a:lnTo>
                  <a:pt x="5231193" y="1123975"/>
                </a:lnTo>
                <a:lnTo>
                  <a:pt x="5281841" y="1119149"/>
                </a:lnTo>
                <a:lnTo>
                  <a:pt x="5332882" y="1116241"/>
                </a:lnTo>
                <a:lnTo>
                  <a:pt x="5384266" y="1115263"/>
                </a:lnTo>
                <a:lnTo>
                  <a:pt x="5435689" y="1116241"/>
                </a:lnTo>
                <a:lnTo>
                  <a:pt x="5486755" y="1119149"/>
                </a:lnTo>
                <a:lnTo>
                  <a:pt x="5537428" y="1123975"/>
                </a:lnTo>
                <a:lnTo>
                  <a:pt x="5587644" y="1130706"/>
                </a:lnTo>
                <a:lnTo>
                  <a:pt x="5637377" y="1139304"/>
                </a:lnTo>
                <a:lnTo>
                  <a:pt x="5686577" y="1149781"/>
                </a:lnTo>
                <a:lnTo>
                  <a:pt x="5735205" y="1162100"/>
                </a:lnTo>
                <a:lnTo>
                  <a:pt x="5783211" y="1176235"/>
                </a:lnTo>
                <a:lnTo>
                  <a:pt x="5816460" y="1187437"/>
                </a:lnTo>
                <a:lnTo>
                  <a:pt x="5816460" y="1115263"/>
                </a:lnTo>
                <a:lnTo>
                  <a:pt x="5816460" y="812927"/>
                </a:lnTo>
                <a:close/>
              </a:path>
              <a:path w="5816600" h="6075680">
                <a:moveTo>
                  <a:pt x="5816460" y="49682"/>
                </a:moveTo>
                <a:lnTo>
                  <a:pt x="5771273" y="40995"/>
                </a:lnTo>
                <a:lnTo>
                  <a:pt x="5725795" y="33108"/>
                </a:lnTo>
                <a:lnTo>
                  <a:pt x="5680214" y="26047"/>
                </a:lnTo>
                <a:lnTo>
                  <a:pt x="5634558" y="19824"/>
                </a:lnTo>
                <a:lnTo>
                  <a:pt x="5588825" y="14452"/>
                </a:lnTo>
                <a:lnTo>
                  <a:pt x="5543042" y="9918"/>
                </a:lnTo>
                <a:lnTo>
                  <a:pt x="5497207" y="6235"/>
                </a:lnTo>
                <a:lnTo>
                  <a:pt x="5451360" y="3403"/>
                </a:lnTo>
                <a:lnTo>
                  <a:pt x="5405488" y="1409"/>
                </a:lnTo>
                <a:lnTo>
                  <a:pt x="5359616" y="279"/>
                </a:lnTo>
                <a:lnTo>
                  <a:pt x="5313756" y="0"/>
                </a:lnTo>
                <a:lnTo>
                  <a:pt x="5267934" y="571"/>
                </a:lnTo>
                <a:lnTo>
                  <a:pt x="5222138" y="2006"/>
                </a:lnTo>
                <a:lnTo>
                  <a:pt x="5176405" y="4305"/>
                </a:lnTo>
                <a:lnTo>
                  <a:pt x="5130749" y="7454"/>
                </a:lnTo>
                <a:lnTo>
                  <a:pt x="5085156" y="11480"/>
                </a:lnTo>
                <a:lnTo>
                  <a:pt x="5039665" y="16357"/>
                </a:lnTo>
                <a:lnTo>
                  <a:pt x="4994287" y="22123"/>
                </a:lnTo>
                <a:lnTo>
                  <a:pt x="4949025" y="28740"/>
                </a:lnTo>
                <a:lnTo>
                  <a:pt x="4903914" y="36245"/>
                </a:lnTo>
                <a:lnTo>
                  <a:pt x="4858931" y="44615"/>
                </a:lnTo>
                <a:lnTo>
                  <a:pt x="4814125" y="53873"/>
                </a:lnTo>
                <a:lnTo>
                  <a:pt x="4769497" y="64008"/>
                </a:lnTo>
                <a:lnTo>
                  <a:pt x="4725060" y="75018"/>
                </a:lnTo>
                <a:lnTo>
                  <a:pt x="4680826" y="86906"/>
                </a:lnTo>
                <a:lnTo>
                  <a:pt x="4636808" y="99695"/>
                </a:lnTo>
                <a:lnTo>
                  <a:pt x="4593018" y="113360"/>
                </a:lnTo>
                <a:lnTo>
                  <a:pt x="4549483" y="127914"/>
                </a:lnTo>
                <a:lnTo>
                  <a:pt x="4506201" y="143370"/>
                </a:lnTo>
                <a:lnTo>
                  <a:pt x="4463186" y="159715"/>
                </a:lnTo>
                <a:lnTo>
                  <a:pt x="4420463" y="176949"/>
                </a:lnTo>
                <a:lnTo>
                  <a:pt x="4378045" y="195097"/>
                </a:lnTo>
                <a:lnTo>
                  <a:pt x="4335932" y="214134"/>
                </a:lnTo>
                <a:lnTo>
                  <a:pt x="4294149" y="234073"/>
                </a:lnTo>
                <a:lnTo>
                  <a:pt x="4252709" y="254914"/>
                </a:lnTo>
                <a:lnTo>
                  <a:pt x="4211625" y="276669"/>
                </a:lnTo>
                <a:lnTo>
                  <a:pt x="4170908" y="299326"/>
                </a:lnTo>
                <a:lnTo>
                  <a:pt x="4130573" y="322897"/>
                </a:lnTo>
                <a:lnTo>
                  <a:pt x="4090644" y="347383"/>
                </a:lnTo>
                <a:lnTo>
                  <a:pt x="4051109" y="372770"/>
                </a:lnTo>
                <a:lnTo>
                  <a:pt x="4012006" y="399084"/>
                </a:lnTo>
                <a:lnTo>
                  <a:pt x="3973334" y="426326"/>
                </a:lnTo>
                <a:lnTo>
                  <a:pt x="3935120" y="454469"/>
                </a:lnTo>
                <a:lnTo>
                  <a:pt x="3897363" y="483552"/>
                </a:lnTo>
                <a:lnTo>
                  <a:pt x="3897363" y="1006538"/>
                </a:lnTo>
                <a:lnTo>
                  <a:pt x="3974084" y="931900"/>
                </a:lnTo>
                <a:lnTo>
                  <a:pt x="4008691" y="899071"/>
                </a:lnTo>
                <a:lnTo>
                  <a:pt x="4043896" y="867270"/>
                </a:lnTo>
                <a:lnTo>
                  <a:pt x="4079697" y="836485"/>
                </a:lnTo>
                <a:lnTo>
                  <a:pt x="4116057" y="806704"/>
                </a:lnTo>
                <a:lnTo>
                  <a:pt x="4152976" y="777951"/>
                </a:lnTo>
                <a:lnTo>
                  <a:pt x="4190415" y="750214"/>
                </a:lnTo>
                <a:lnTo>
                  <a:pt x="4228376" y="723480"/>
                </a:lnTo>
                <a:lnTo>
                  <a:pt x="4266831" y="697763"/>
                </a:lnTo>
                <a:lnTo>
                  <a:pt x="4305770" y="673049"/>
                </a:lnTo>
                <a:lnTo>
                  <a:pt x="4345165" y="649351"/>
                </a:lnTo>
                <a:lnTo>
                  <a:pt x="4385005" y="626656"/>
                </a:lnTo>
                <a:lnTo>
                  <a:pt x="4425264" y="604964"/>
                </a:lnTo>
                <a:lnTo>
                  <a:pt x="4465942" y="584276"/>
                </a:lnTo>
                <a:lnTo>
                  <a:pt x="4506988" y="564591"/>
                </a:lnTo>
                <a:lnTo>
                  <a:pt x="4548416" y="545909"/>
                </a:lnTo>
                <a:lnTo>
                  <a:pt x="4590199" y="528218"/>
                </a:lnTo>
                <a:lnTo>
                  <a:pt x="4632312" y="511517"/>
                </a:lnTo>
                <a:lnTo>
                  <a:pt x="4674743" y="495820"/>
                </a:lnTo>
                <a:lnTo>
                  <a:pt x="4717466" y="481114"/>
                </a:lnTo>
                <a:lnTo>
                  <a:pt x="4760468" y="467398"/>
                </a:lnTo>
                <a:lnTo>
                  <a:pt x="4803737" y="454672"/>
                </a:lnTo>
                <a:lnTo>
                  <a:pt x="4847260" y="442937"/>
                </a:lnTo>
                <a:lnTo>
                  <a:pt x="4890986" y="432193"/>
                </a:lnTo>
                <a:lnTo>
                  <a:pt x="4934940" y="422427"/>
                </a:lnTo>
                <a:lnTo>
                  <a:pt x="4979073" y="413639"/>
                </a:lnTo>
                <a:lnTo>
                  <a:pt x="5023370" y="405841"/>
                </a:lnTo>
                <a:lnTo>
                  <a:pt x="5067833" y="399021"/>
                </a:lnTo>
                <a:lnTo>
                  <a:pt x="5112423" y="393179"/>
                </a:lnTo>
                <a:lnTo>
                  <a:pt x="5157140" y="388315"/>
                </a:lnTo>
                <a:lnTo>
                  <a:pt x="5201945" y="384429"/>
                </a:lnTo>
                <a:lnTo>
                  <a:pt x="5246840" y="381508"/>
                </a:lnTo>
                <a:lnTo>
                  <a:pt x="5291798" y="379564"/>
                </a:lnTo>
                <a:lnTo>
                  <a:pt x="5336794" y="378587"/>
                </a:lnTo>
                <a:lnTo>
                  <a:pt x="5381828" y="378587"/>
                </a:lnTo>
                <a:lnTo>
                  <a:pt x="5426862" y="379539"/>
                </a:lnTo>
                <a:lnTo>
                  <a:pt x="5471884" y="381469"/>
                </a:lnTo>
                <a:lnTo>
                  <a:pt x="5516892" y="384365"/>
                </a:lnTo>
                <a:lnTo>
                  <a:pt x="5561838" y="388213"/>
                </a:lnTo>
                <a:lnTo>
                  <a:pt x="5606732" y="393026"/>
                </a:lnTo>
                <a:lnTo>
                  <a:pt x="5651538" y="398805"/>
                </a:lnTo>
                <a:lnTo>
                  <a:pt x="5696255" y="405523"/>
                </a:lnTo>
                <a:lnTo>
                  <a:pt x="5740844" y="413219"/>
                </a:lnTo>
                <a:lnTo>
                  <a:pt x="5785294" y="421855"/>
                </a:lnTo>
                <a:lnTo>
                  <a:pt x="5816460" y="428599"/>
                </a:lnTo>
                <a:lnTo>
                  <a:pt x="5816460" y="378587"/>
                </a:lnTo>
                <a:lnTo>
                  <a:pt x="5816460" y="49682"/>
                </a:lnTo>
                <a:close/>
              </a:path>
            </a:pathLst>
          </a:custGeom>
          <a:solidFill>
            <a:srgbClr val="FFFFFF">
              <a:alpha val="22999"/>
            </a:srgbClr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318470" y="474010"/>
            <a:ext cx="1415281" cy="955976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476243" y="794784"/>
            <a:ext cx="1427535" cy="350024"/>
          </a:xfrm>
          <a:custGeom>
            <a:avLst/>
            <a:gdLst/>
            <a:ahLst/>
            <a:cxnLst/>
            <a:rect l="l" t="t" r="r" b="b"/>
            <a:pathLst>
              <a:path w="2353945" h="577214">
                <a:moveTo>
                  <a:pt x="615848" y="577088"/>
                </a:moveTo>
                <a:lnTo>
                  <a:pt x="570890" y="224243"/>
                </a:lnTo>
                <a:lnTo>
                  <a:pt x="550722" y="65938"/>
                </a:lnTo>
                <a:lnTo>
                  <a:pt x="545769" y="65938"/>
                </a:lnTo>
                <a:lnTo>
                  <a:pt x="348742" y="443534"/>
                </a:lnTo>
                <a:lnTo>
                  <a:pt x="343789" y="443534"/>
                </a:lnTo>
                <a:lnTo>
                  <a:pt x="227571" y="221754"/>
                </a:lnTo>
                <a:lnTo>
                  <a:pt x="145923" y="65938"/>
                </a:lnTo>
                <a:lnTo>
                  <a:pt x="140982" y="65938"/>
                </a:lnTo>
                <a:lnTo>
                  <a:pt x="75857" y="577088"/>
                </a:lnTo>
                <a:lnTo>
                  <a:pt x="130263" y="577088"/>
                </a:lnTo>
                <a:lnTo>
                  <a:pt x="172313" y="221754"/>
                </a:lnTo>
                <a:lnTo>
                  <a:pt x="339674" y="529272"/>
                </a:lnTo>
                <a:lnTo>
                  <a:pt x="351205" y="529272"/>
                </a:lnTo>
                <a:lnTo>
                  <a:pt x="398246" y="443534"/>
                </a:lnTo>
                <a:lnTo>
                  <a:pt x="518566" y="224243"/>
                </a:lnTo>
                <a:lnTo>
                  <a:pt x="560616" y="577088"/>
                </a:lnTo>
                <a:lnTo>
                  <a:pt x="615848" y="577088"/>
                </a:lnTo>
                <a:close/>
              </a:path>
              <a:path w="2353945" h="577214">
                <a:moveTo>
                  <a:pt x="692518" y="577088"/>
                </a:moveTo>
                <a:lnTo>
                  <a:pt x="620242" y="44500"/>
                </a:lnTo>
                <a:lnTo>
                  <a:pt x="614197" y="0"/>
                </a:lnTo>
                <a:lnTo>
                  <a:pt x="496303" y="0"/>
                </a:lnTo>
                <a:lnTo>
                  <a:pt x="347078" y="302552"/>
                </a:lnTo>
                <a:lnTo>
                  <a:pt x="218414" y="44500"/>
                </a:lnTo>
                <a:lnTo>
                  <a:pt x="196215" y="0"/>
                </a:lnTo>
                <a:lnTo>
                  <a:pt x="78333" y="0"/>
                </a:lnTo>
                <a:lnTo>
                  <a:pt x="0" y="577088"/>
                </a:lnTo>
                <a:lnTo>
                  <a:pt x="54419" y="577088"/>
                </a:lnTo>
                <a:lnTo>
                  <a:pt x="122847" y="44500"/>
                </a:lnTo>
                <a:lnTo>
                  <a:pt x="159118" y="44500"/>
                </a:lnTo>
                <a:lnTo>
                  <a:pt x="346265" y="402310"/>
                </a:lnTo>
                <a:lnTo>
                  <a:pt x="398208" y="302552"/>
                </a:lnTo>
                <a:lnTo>
                  <a:pt x="532587" y="44500"/>
                </a:lnTo>
                <a:lnTo>
                  <a:pt x="568858" y="44500"/>
                </a:lnTo>
                <a:lnTo>
                  <a:pt x="637286" y="577088"/>
                </a:lnTo>
                <a:lnTo>
                  <a:pt x="692518" y="577088"/>
                </a:lnTo>
                <a:close/>
              </a:path>
              <a:path w="2353945" h="577214">
                <a:moveTo>
                  <a:pt x="1386992" y="193116"/>
                </a:moveTo>
                <a:lnTo>
                  <a:pt x="1378419" y="138836"/>
                </a:lnTo>
                <a:lnTo>
                  <a:pt x="1356410" y="94183"/>
                </a:lnTo>
                <a:lnTo>
                  <a:pt x="1354061" y="90487"/>
                </a:lnTo>
                <a:lnTo>
                  <a:pt x="1325181" y="58724"/>
                </a:lnTo>
                <a:lnTo>
                  <a:pt x="1297698" y="38404"/>
                </a:lnTo>
                <a:lnTo>
                  <a:pt x="1297698" y="193116"/>
                </a:lnTo>
                <a:lnTo>
                  <a:pt x="1295704" y="212547"/>
                </a:lnTo>
                <a:lnTo>
                  <a:pt x="1289824" y="230962"/>
                </a:lnTo>
                <a:lnTo>
                  <a:pt x="1280248" y="247942"/>
                </a:lnTo>
                <a:lnTo>
                  <a:pt x="1267180" y="263042"/>
                </a:lnTo>
                <a:lnTo>
                  <a:pt x="1061593" y="458343"/>
                </a:lnTo>
                <a:lnTo>
                  <a:pt x="894816" y="299923"/>
                </a:lnTo>
                <a:lnTo>
                  <a:pt x="894118" y="299212"/>
                </a:lnTo>
                <a:lnTo>
                  <a:pt x="856030" y="263042"/>
                </a:lnTo>
                <a:lnTo>
                  <a:pt x="842949" y="247942"/>
                </a:lnTo>
                <a:lnTo>
                  <a:pt x="833386" y="230962"/>
                </a:lnTo>
                <a:lnTo>
                  <a:pt x="827506" y="212547"/>
                </a:lnTo>
                <a:lnTo>
                  <a:pt x="825512" y="193116"/>
                </a:lnTo>
                <a:lnTo>
                  <a:pt x="833704" y="154647"/>
                </a:lnTo>
                <a:lnTo>
                  <a:pt x="856056" y="123190"/>
                </a:lnTo>
                <a:lnTo>
                  <a:pt x="889165" y="101968"/>
                </a:lnTo>
                <a:lnTo>
                  <a:pt x="929665" y="94183"/>
                </a:lnTo>
                <a:lnTo>
                  <a:pt x="951699" y="96431"/>
                </a:lnTo>
                <a:lnTo>
                  <a:pt x="991438" y="113487"/>
                </a:lnTo>
                <a:lnTo>
                  <a:pt x="1048321" y="171386"/>
                </a:lnTo>
                <a:lnTo>
                  <a:pt x="1051648" y="175031"/>
                </a:lnTo>
                <a:lnTo>
                  <a:pt x="1056538" y="177139"/>
                </a:lnTo>
                <a:lnTo>
                  <a:pt x="1066609" y="177139"/>
                </a:lnTo>
                <a:lnTo>
                  <a:pt x="1071460" y="175069"/>
                </a:lnTo>
                <a:lnTo>
                  <a:pt x="1115402" y="127723"/>
                </a:lnTo>
                <a:lnTo>
                  <a:pt x="1131760" y="113487"/>
                </a:lnTo>
                <a:lnTo>
                  <a:pt x="1150683" y="102958"/>
                </a:lnTo>
                <a:lnTo>
                  <a:pt x="1171511" y="96431"/>
                </a:lnTo>
                <a:lnTo>
                  <a:pt x="1193533" y="94183"/>
                </a:lnTo>
                <a:lnTo>
                  <a:pt x="1234046" y="101968"/>
                </a:lnTo>
                <a:lnTo>
                  <a:pt x="1267155" y="123190"/>
                </a:lnTo>
                <a:lnTo>
                  <a:pt x="1289507" y="154647"/>
                </a:lnTo>
                <a:lnTo>
                  <a:pt x="1297698" y="193116"/>
                </a:lnTo>
                <a:lnTo>
                  <a:pt x="1297698" y="38404"/>
                </a:lnTo>
                <a:lnTo>
                  <a:pt x="1250670" y="17487"/>
                </a:lnTo>
                <a:lnTo>
                  <a:pt x="1212951" y="10248"/>
                </a:lnTo>
                <a:lnTo>
                  <a:pt x="1193533" y="9334"/>
                </a:lnTo>
                <a:lnTo>
                  <a:pt x="1172552" y="10401"/>
                </a:lnTo>
                <a:lnTo>
                  <a:pt x="1132014" y="18821"/>
                </a:lnTo>
                <a:lnTo>
                  <a:pt x="1094740" y="35102"/>
                </a:lnTo>
                <a:lnTo>
                  <a:pt x="1061605" y="58724"/>
                </a:lnTo>
                <a:lnTo>
                  <a:pt x="1056411" y="54127"/>
                </a:lnTo>
                <a:lnTo>
                  <a:pt x="1019644" y="30403"/>
                </a:lnTo>
                <a:lnTo>
                  <a:pt x="971181" y="13563"/>
                </a:lnTo>
                <a:lnTo>
                  <a:pt x="929665" y="9334"/>
                </a:lnTo>
                <a:lnTo>
                  <a:pt x="910247" y="10248"/>
                </a:lnTo>
                <a:lnTo>
                  <a:pt x="872528" y="17487"/>
                </a:lnTo>
                <a:lnTo>
                  <a:pt x="821651" y="40627"/>
                </a:lnTo>
                <a:lnTo>
                  <a:pt x="780275" y="76339"/>
                </a:lnTo>
                <a:lnTo>
                  <a:pt x="751420" y="121577"/>
                </a:lnTo>
                <a:lnTo>
                  <a:pt x="737171" y="174663"/>
                </a:lnTo>
                <a:lnTo>
                  <a:pt x="736206" y="193116"/>
                </a:lnTo>
                <a:lnTo>
                  <a:pt x="737171" y="211556"/>
                </a:lnTo>
                <a:lnTo>
                  <a:pt x="751420" y="264642"/>
                </a:lnTo>
                <a:lnTo>
                  <a:pt x="779665" y="309156"/>
                </a:lnTo>
                <a:lnTo>
                  <a:pt x="1061605" y="571398"/>
                </a:lnTo>
                <a:lnTo>
                  <a:pt x="1183957" y="458343"/>
                </a:lnTo>
                <a:lnTo>
                  <a:pt x="1330655" y="322783"/>
                </a:lnTo>
                <a:lnTo>
                  <a:pt x="1363840" y="280339"/>
                </a:lnTo>
                <a:lnTo>
                  <a:pt x="1383169" y="229679"/>
                </a:lnTo>
                <a:lnTo>
                  <a:pt x="1386039" y="211556"/>
                </a:lnTo>
                <a:lnTo>
                  <a:pt x="1386992" y="193116"/>
                </a:lnTo>
                <a:close/>
              </a:path>
              <a:path w="2353945" h="577214">
                <a:moveTo>
                  <a:pt x="1824431" y="577088"/>
                </a:moveTo>
                <a:lnTo>
                  <a:pt x="1646936" y="313270"/>
                </a:lnTo>
                <a:lnTo>
                  <a:pt x="1643049" y="307505"/>
                </a:lnTo>
                <a:lnTo>
                  <a:pt x="1667789" y="307505"/>
                </a:lnTo>
                <a:lnTo>
                  <a:pt x="1723021" y="299669"/>
                </a:lnTo>
                <a:lnTo>
                  <a:pt x="1765071" y="276174"/>
                </a:lnTo>
                <a:lnTo>
                  <a:pt x="1791652" y="239077"/>
                </a:lnTo>
                <a:lnTo>
                  <a:pt x="1800529" y="190423"/>
                </a:lnTo>
                <a:lnTo>
                  <a:pt x="1798053" y="163931"/>
                </a:lnTo>
                <a:lnTo>
                  <a:pt x="1778469" y="120357"/>
                </a:lnTo>
                <a:lnTo>
                  <a:pt x="1743633" y="91503"/>
                </a:lnTo>
                <a:lnTo>
                  <a:pt x="1743633" y="195376"/>
                </a:lnTo>
                <a:lnTo>
                  <a:pt x="1742198" y="211861"/>
                </a:lnTo>
                <a:lnTo>
                  <a:pt x="1720545" y="251447"/>
                </a:lnTo>
                <a:lnTo>
                  <a:pt x="1678495" y="271538"/>
                </a:lnTo>
                <a:lnTo>
                  <a:pt x="1661185" y="272872"/>
                </a:lnTo>
                <a:lnTo>
                  <a:pt x="1584528" y="272872"/>
                </a:lnTo>
                <a:lnTo>
                  <a:pt x="1584528" y="120357"/>
                </a:lnTo>
                <a:lnTo>
                  <a:pt x="1653781" y="120357"/>
                </a:lnTo>
                <a:lnTo>
                  <a:pt x="1706092" y="131953"/>
                </a:lnTo>
                <a:lnTo>
                  <a:pt x="1737550" y="164884"/>
                </a:lnTo>
                <a:lnTo>
                  <a:pt x="1743633" y="195376"/>
                </a:lnTo>
                <a:lnTo>
                  <a:pt x="1743633" y="91503"/>
                </a:lnTo>
                <a:lnTo>
                  <a:pt x="1739353" y="88747"/>
                </a:lnTo>
                <a:lnTo>
                  <a:pt x="1714157" y="78828"/>
                </a:lnTo>
                <a:lnTo>
                  <a:pt x="1685353" y="72872"/>
                </a:lnTo>
                <a:lnTo>
                  <a:pt x="1652955" y="70891"/>
                </a:lnTo>
                <a:lnTo>
                  <a:pt x="1528457" y="70891"/>
                </a:lnTo>
                <a:lnTo>
                  <a:pt x="1528457" y="577088"/>
                </a:lnTo>
                <a:lnTo>
                  <a:pt x="1584528" y="577088"/>
                </a:lnTo>
                <a:lnTo>
                  <a:pt x="1584528" y="313270"/>
                </a:lnTo>
                <a:lnTo>
                  <a:pt x="1760131" y="577088"/>
                </a:lnTo>
                <a:lnTo>
                  <a:pt x="1824431" y="577088"/>
                </a:lnTo>
                <a:close/>
              </a:path>
              <a:path w="2353945" h="577214">
                <a:moveTo>
                  <a:pt x="1912632" y="577088"/>
                </a:moveTo>
                <a:lnTo>
                  <a:pt x="1759305" y="354495"/>
                </a:lnTo>
                <a:lnTo>
                  <a:pt x="1785861" y="343027"/>
                </a:lnTo>
                <a:lnTo>
                  <a:pt x="1809483" y="328422"/>
                </a:lnTo>
                <a:lnTo>
                  <a:pt x="1847926" y="289775"/>
                </a:lnTo>
                <a:lnTo>
                  <a:pt x="1872348" y="241452"/>
                </a:lnTo>
                <a:lnTo>
                  <a:pt x="1880489" y="186309"/>
                </a:lnTo>
                <a:lnTo>
                  <a:pt x="1878761" y="159880"/>
                </a:lnTo>
                <a:lnTo>
                  <a:pt x="1864956" y="111645"/>
                </a:lnTo>
                <a:lnTo>
                  <a:pt x="1837690" y="69964"/>
                </a:lnTo>
                <a:lnTo>
                  <a:pt x="1799158" y="36995"/>
                </a:lnTo>
                <a:lnTo>
                  <a:pt x="1749971" y="13436"/>
                </a:lnTo>
                <a:lnTo>
                  <a:pt x="1691855" y="1485"/>
                </a:lnTo>
                <a:lnTo>
                  <a:pt x="1659547" y="0"/>
                </a:lnTo>
                <a:lnTo>
                  <a:pt x="1450962" y="0"/>
                </a:lnTo>
                <a:lnTo>
                  <a:pt x="1450962" y="577088"/>
                </a:lnTo>
                <a:lnTo>
                  <a:pt x="1507032" y="577088"/>
                </a:lnTo>
                <a:lnTo>
                  <a:pt x="1507032" y="49453"/>
                </a:lnTo>
                <a:lnTo>
                  <a:pt x="1646351" y="49453"/>
                </a:lnTo>
                <a:lnTo>
                  <a:pt x="1685721" y="51752"/>
                </a:lnTo>
                <a:lnTo>
                  <a:pt x="1750847" y="70104"/>
                </a:lnTo>
                <a:lnTo>
                  <a:pt x="1797177" y="106426"/>
                </a:lnTo>
                <a:lnTo>
                  <a:pt x="1820672" y="158572"/>
                </a:lnTo>
                <a:lnTo>
                  <a:pt x="1823605" y="190423"/>
                </a:lnTo>
                <a:lnTo>
                  <a:pt x="1822475" y="209321"/>
                </a:lnTo>
                <a:lnTo>
                  <a:pt x="1805470" y="260108"/>
                </a:lnTo>
                <a:lnTo>
                  <a:pt x="1771078" y="299059"/>
                </a:lnTo>
                <a:lnTo>
                  <a:pt x="1723542" y="322033"/>
                </a:lnTo>
                <a:lnTo>
                  <a:pt x="1686750" y="326466"/>
                </a:lnTo>
                <a:lnTo>
                  <a:pt x="1680159" y="326466"/>
                </a:lnTo>
                <a:lnTo>
                  <a:pt x="1848332" y="577088"/>
                </a:lnTo>
                <a:lnTo>
                  <a:pt x="1912632" y="577088"/>
                </a:lnTo>
                <a:close/>
              </a:path>
              <a:path w="2353945" h="577214">
                <a:moveTo>
                  <a:pt x="2345461" y="70891"/>
                </a:moveTo>
                <a:lnTo>
                  <a:pt x="2039594" y="70891"/>
                </a:lnTo>
                <a:lnTo>
                  <a:pt x="2039594" y="276999"/>
                </a:lnTo>
                <a:lnTo>
                  <a:pt x="2328976" y="276999"/>
                </a:lnTo>
                <a:lnTo>
                  <a:pt x="2328976" y="228358"/>
                </a:lnTo>
                <a:lnTo>
                  <a:pt x="2095665" y="228358"/>
                </a:lnTo>
                <a:lnTo>
                  <a:pt x="2095665" y="120357"/>
                </a:lnTo>
                <a:lnTo>
                  <a:pt x="2345461" y="120357"/>
                </a:lnTo>
                <a:lnTo>
                  <a:pt x="2345461" y="70891"/>
                </a:lnTo>
                <a:close/>
              </a:path>
              <a:path w="2353945" h="577214">
                <a:moveTo>
                  <a:pt x="2353703" y="527621"/>
                </a:moveTo>
                <a:lnTo>
                  <a:pt x="2018169" y="527621"/>
                </a:lnTo>
                <a:lnTo>
                  <a:pt x="2018169" y="49453"/>
                </a:lnTo>
                <a:lnTo>
                  <a:pt x="2345461" y="49453"/>
                </a:lnTo>
                <a:lnTo>
                  <a:pt x="2345461" y="0"/>
                </a:lnTo>
                <a:lnTo>
                  <a:pt x="1962099" y="0"/>
                </a:lnTo>
                <a:lnTo>
                  <a:pt x="1962099" y="577088"/>
                </a:lnTo>
                <a:lnTo>
                  <a:pt x="2353703" y="577088"/>
                </a:lnTo>
                <a:lnTo>
                  <a:pt x="2353703" y="527621"/>
                </a:lnTo>
                <a:close/>
              </a:path>
              <a:path w="2353945" h="577214">
                <a:moveTo>
                  <a:pt x="2353703" y="456730"/>
                </a:moveTo>
                <a:lnTo>
                  <a:pt x="2095665" y="456730"/>
                </a:lnTo>
                <a:lnTo>
                  <a:pt x="2095665" y="347078"/>
                </a:lnTo>
                <a:lnTo>
                  <a:pt x="2328976" y="347078"/>
                </a:lnTo>
                <a:lnTo>
                  <a:pt x="2328976" y="298437"/>
                </a:lnTo>
                <a:lnTo>
                  <a:pt x="2039594" y="298437"/>
                </a:lnTo>
                <a:lnTo>
                  <a:pt x="2039594" y="506183"/>
                </a:lnTo>
                <a:lnTo>
                  <a:pt x="2353703" y="506183"/>
                </a:lnTo>
                <a:lnTo>
                  <a:pt x="2353703" y="456730"/>
                </a:lnTo>
                <a:close/>
              </a:path>
            </a:pathLst>
          </a:custGeom>
          <a:solidFill>
            <a:srgbClr val="FFE31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0" name="bg object 20"/>
          <p:cNvSpPr/>
          <p:nvPr/>
        </p:nvSpPr>
        <p:spPr>
          <a:xfrm>
            <a:off x="922717" y="800444"/>
            <a:ext cx="394719" cy="341167"/>
          </a:xfrm>
          <a:custGeom>
            <a:avLst/>
            <a:gdLst/>
            <a:ahLst/>
            <a:cxnLst/>
            <a:rect l="l" t="t" r="r" b="b"/>
            <a:pathLst>
              <a:path w="650875" h="562610">
                <a:moveTo>
                  <a:pt x="635572" y="112237"/>
                </a:moveTo>
                <a:lnTo>
                  <a:pt x="606711" y="66995"/>
                </a:lnTo>
                <a:lnTo>
                  <a:pt x="565344" y="31281"/>
                </a:lnTo>
                <a:lnTo>
                  <a:pt x="514459" y="8145"/>
                </a:lnTo>
                <a:lnTo>
                  <a:pt x="476743" y="909"/>
                </a:lnTo>
                <a:lnTo>
                  <a:pt x="457326" y="0"/>
                </a:lnTo>
                <a:lnTo>
                  <a:pt x="436346" y="1059"/>
                </a:lnTo>
                <a:lnTo>
                  <a:pt x="395805" y="9484"/>
                </a:lnTo>
                <a:lnTo>
                  <a:pt x="358524" y="25759"/>
                </a:lnTo>
                <a:lnTo>
                  <a:pt x="325393" y="49391"/>
                </a:lnTo>
                <a:lnTo>
                  <a:pt x="320199" y="44794"/>
                </a:lnTo>
                <a:lnTo>
                  <a:pt x="283439" y="21061"/>
                </a:lnTo>
                <a:lnTo>
                  <a:pt x="234965" y="4226"/>
                </a:lnTo>
                <a:lnTo>
                  <a:pt x="193460" y="0"/>
                </a:lnTo>
                <a:lnTo>
                  <a:pt x="174038" y="909"/>
                </a:lnTo>
                <a:lnTo>
                  <a:pt x="136320" y="8145"/>
                </a:lnTo>
                <a:lnTo>
                  <a:pt x="85435" y="31285"/>
                </a:lnTo>
                <a:lnTo>
                  <a:pt x="44064" y="67001"/>
                </a:lnTo>
                <a:lnTo>
                  <a:pt x="15214" y="112237"/>
                </a:lnTo>
                <a:lnTo>
                  <a:pt x="956" y="165324"/>
                </a:lnTo>
                <a:lnTo>
                  <a:pt x="0" y="183774"/>
                </a:lnTo>
                <a:lnTo>
                  <a:pt x="957" y="202223"/>
                </a:lnTo>
                <a:lnTo>
                  <a:pt x="15214" y="255301"/>
                </a:lnTo>
                <a:lnTo>
                  <a:pt x="43454" y="299816"/>
                </a:lnTo>
                <a:lnTo>
                  <a:pt x="55746" y="312817"/>
                </a:lnTo>
                <a:lnTo>
                  <a:pt x="56029" y="313131"/>
                </a:lnTo>
                <a:lnTo>
                  <a:pt x="56333" y="313445"/>
                </a:lnTo>
                <a:lnTo>
                  <a:pt x="56647" y="313749"/>
                </a:lnTo>
                <a:lnTo>
                  <a:pt x="325393" y="562056"/>
                </a:lnTo>
                <a:lnTo>
                  <a:pt x="594128" y="313749"/>
                </a:lnTo>
                <a:lnTo>
                  <a:pt x="594379" y="313508"/>
                </a:lnTo>
                <a:lnTo>
                  <a:pt x="594610" y="313278"/>
                </a:lnTo>
                <a:lnTo>
                  <a:pt x="594840" y="313027"/>
                </a:lnTo>
                <a:lnTo>
                  <a:pt x="594987" y="312870"/>
                </a:lnTo>
                <a:lnTo>
                  <a:pt x="607344" y="299797"/>
                </a:lnTo>
                <a:lnTo>
                  <a:pt x="635561" y="255301"/>
                </a:lnTo>
                <a:lnTo>
                  <a:pt x="649828" y="202223"/>
                </a:lnTo>
                <a:lnTo>
                  <a:pt x="650786" y="183774"/>
                </a:lnTo>
                <a:lnTo>
                  <a:pt x="649828" y="165324"/>
                </a:lnTo>
                <a:lnTo>
                  <a:pt x="646964" y="147208"/>
                </a:lnTo>
                <a:lnTo>
                  <a:pt x="642207" y="129491"/>
                </a:lnTo>
                <a:lnTo>
                  <a:pt x="635572" y="112237"/>
                </a:lnTo>
                <a:close/>
              </a:path>
              <a:path w="650875" h="562610">
                <a:moveTo>
                  <a:pt x="561490" y="183774"/>
                </a:moveTo>
                <a:lnTo>
                  <a:pt x="553611" y="221628"/>
                </a:lnTo>
                <a:lnTo>
                  <a:pt x="530968" y="253709"/>
                </a:lnTo>
                <a:lnTo>
                  <a:pt x="325382" y="449002"/>
                </a:lnTo>
                <a:lnTo>
                  <a:pt x="158770" y="290766"/>
                </a:lnTo>
                <a:lnTo>
                  <a:pt x="158602" y="290588"/>
                </a:lnTo>
                <a:lnTo>
                  <a:pt x="158382" y="290347"/>
                </a:lnTo>
                <a:lnTo>
                  <a:pt x="158141" y="290106"/>
                </a:lnTo>
                <a:lnTo>
                  <a:pt x="157900" y="289875"/>
                </a:lnTo>
                <a:lnTo>
                  <a:pt x="119818" y="253699"/>
                </a:lnTo>
                <a:lnTo>
                  <a:pt x="106744" y="238600"/>
                </a:lnTo>
                <a:lnTo>
                  <a:pt x="97175" y="221626"/>
                </a:lnTo>
                <a:lnTo>
                  <a:pt x="91296" y="203208"/>
                </a:lnTo>
                <a:lnTo>
                  <a:pt x="89295" y="183774"/>
                </a:lnTo>
                <a:lnTo>
                  <a:pt x="97494" y="145306"/>
                </a:lnTo>
                <a:lnTo>
                  <a:pt x="119840" y="113856"/>
                </a:lnTo>
                <a:lnTo>
                  <a:pt x="152954" y="92633"/>
                </a:lnTo>
                <a:lnTo>
                  <a:pt x="193460" y="84845"/>
                </a:lnTo>
                <a:lnTo>
                  <a:pt x="215483" y="87089"/>
                </a:lnTo>
                <a:lnTo>
                  <a:pt x="255231" y="104154"/>
                </a:lnTo>
                <a:lnTo>
                  <a:pt x="312116" y="162047"/>
                </a:lnTo>
                <a:lnTo>
                  <a:pt x="315435" y="165691"/>
                </a:lnTo>
                <a:lnTo>
                  <a:pt x="320325" y="167806"/>
                </a:lnTo>
                <a:lnTo>
                  <a:pt x="325393" y="167806"/>
                </a:lnTo>
                <a:lnTo>
                  <a:pt x="330398" y="167806"/>
                </a:lnTo>
                <a:lnTo>
                  <a:pt x="335246" y="165733"/>
                </a:lnTo>
                <a:lnTo>
                  <a:pt x="379192" y="118383"/>
                </a:lnTo>
                <a:lnTo>
                  <a:pt x="414474" y="93624"/>
                </a:lnTo>
                <a:lnTo>
                  <a:pt x="457326" y="84845"/>
                </a:lnTo>
                <a:lnTo>
                  <a:pt x="497831" y="92633"/>
                </a:lnTo>
                <a:lnTo>
                  <a:pt x="530945" y="113856"/>
                </a:lnTo>
                <a:lnTo>
                  <a:pt x="553291" y="145306"/>
                </a:lnTo>
                <a:lnTo>
                  <a:pt x="561490" y="183774"/>
                </a:lnTo>
                <a:close/>
              </a:path>
            </a:pathLst>
          </a:custGeom>
          <a:ln w="35423">
            <a:solidFill>
              <a:srgbClr val="FFE31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1" name="bg object 21"/>
          <p:cNvSpPr/>
          <p:nvPr/>
        </p:nvSpPr>
        <p:spPr>
          <a:xfrm>
            <a:off x="949475" y="825617"/>
            <a:ext cx="341191" cy="284178"/>
          </a:xfrm>
          <a:custGeom>
            <a:avLst/>
            <a:gdLst/>
            <a:ahLst/>
            <a:cxnLst/>
            <a:rect l="l" t="t" r="r" b="b"/>
            <a:pathLst>
              <a:path w="562610" h="468630">
                <a:moveTo>
                  <a:pt x="71620" y="269038"/>
                </a:moveTo>
                <a:lnTo>
                  <a:pt x="43768" y="242484"/>
                </a:lnTo>
                <a:lnTo>
                  <a:pt x="25024" y="220802"/>
                </a:lnTo>
                <a:lnTo>
                  <a:pt x="11302" y="196424"/>
                </a:lnTo>
                <a:lnTo>
                  <a:pt x="2870" y="169967"/>
                </a:lnTo>
                <a:lnTo>
                  <a:pt x="0" y="142048"/>
                </a:lnTo>
                <a:lnTo>
                  <a:pt x="7625" y="97199"/>
                </a:lnTo>
                <a:lnTo>
                  <a:pt x="28851" y="58211"/>
                </a:lnTo>
                <a:lnTo>
                  <a:pt x="61197" y="27444"/>
                </a:lnTo>
                <a:lnTo>
                  <a:pt x="102185" y="7254"/>
                </a:lnTo>
                <a:lnTo>
                  <a:pt x="149335" y="0"/>
                </a:lnTo>
                <a:lnTo>
                  <a:pt x="180914" y="3219"/>
                </a:lnTo>
                <a:lnTo>
                  <a:pt x="210759" y="12596"/>
                </a:lnTo>
                <a:lnTo>
                  <a:pt x="237888" y="27705"/>
                </a:lnTo>
                <a:lnTo>
                  <a:pt x="261321" y="48124"/>
                </a:lnTo>
                <a:lnTo>
                  <a:pt x="281268" y="69641"/>
                </a:lnTo>
                <a:lnTo>
                  <a:pt x="301205" y="48124"/>
                </a:lnTo>
                <a:lnTo>
                  <a:pt x="324644" y="27705"/>
                </a:lnTo>
                <a:lnTo>
                  <a:pt x="351777" y="12596"/>
                </a:lnTo>
                <a:lnTo>
                  <a:pt x="381622" y="3219"/>
                </a:lnTo>
                <a:lnTo>
                  <a:pt x="413202" y="0"/>
                </a:lnTo>
                <a:lnTo>
                  <a:pt x="460352" y="7254"/>
                </a:lnTo>
                <a:lnTo>
                  <a:pt x="501340" y="27444"/>
                </a:lnTo>
                <a:lnTo>
                  <a:pt x="533686" y="58211"/>
                </a:lnTo>
                <a:lnTo>
                  <a:pt x="554911" y="97199"/>
                </a:lnTo>
                <a:lnTo>
                  <a:pt x="562537" y="142048"/>
                </a:lnTo>
                <a:lnTo>
                  <a:pt x="559667" y="169967"/>
                </a:lnTo>
                <a:lnTo>
                  <a:pt x="551235" y="196424"/>
                </a:lnTo>
                <a:lnTo>
                  <a:pt x="537513" y="220802"/>
                </a:lnTo>
                <a:lnTo>
                  <a:pt x="518769" y="242484"/>
                </a:lnTo>
                <a:lnTo>
                  <a:pt x="281268" y="468394"/>
                </a:lnTo>
                <a:lnTo>
                  <a:pt x="71620" y="269038"/>
                </a:lnTo>
                <a:close/>
              </a:path>
            </a:pathLst>
          </a:custGeom>
          <a:ln w="14167">
            <a:solidFill>
              <a:srgbClr val="DA202A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2" name="bg object 22"/>
          <p:cNvSpPr/>
          <p:nvPr/>
        </p:nvSpPr>
        <p:spPr>
          <a:xfrm>
            <a:off x="476253" y="476219"/>
            <a:ext cx="1432926" cy="207935"/>
          </a:xfrm>
          <a:custGeom>
            <a:avLst/>
            <a:gdLst/>
            <a:ahLst/>
            <a:cxnLst/>
            <a:rect l="l" t="t" r="r" b="b"/>
            <a:pathLst>
              <a:path w="2362835" h="342900">
                <a:moveTo>
                  <a:pt x="584442" y="87358"/>
                </a:moveTo>
                <a:lnTo>
                  <a:pt x="535256" y="96692"/>
                </a:lnTo>
                <a:lnTo>
                  <a:pt x="495386" y="123511"/>
                </a:lnTo>
                <a:lnTo>
                  <a:pt x="468923" y="163761"/>
                </a:lnTo>
                <a:lnTo>
                  <a:pt x="459703" y="214433"/>
                </a:lnTo>
                <a:lnTo>
                  <a:pt x="460710" y="232994"/>
                </a:lnTo>
                <a:lnTo>
                  <a:pt x="475828" y="281478"/>
                </a:lnTo>
                <a:lnTo>
                  <a:pt x="507227" y="317478"/>
                </a:lnTo>
                <a:lnTo>
                  <a:pt x="552207" y="338420"/>
                </a:lnTo>
                <a:lnTo>
                  <a:pt x="588181" y="342450"/>
                </a:lnTo>
                <a:lnTo>
                  <a:pt x="602371" y="341822"/>
                </a:lnTo>
                <a:lnTo>
                  <a:pt x="641446" y="332398"/>
                </a:lnTo>
                <a:lnTo>
                  <a:pt x="682324" y="304367"/>
                </a:lnTo>
                <a:lnTo>
                  <a:pt x="697605" y="281708"/>
                </a:lnTo>
                <a:lnTo>
                  <a:pt x="588181" y="281708"/>
                </a:lnTo>
                <a:lnTo>
                  <a:pt x="577624" y="280935"/>
                </a:lnTo>
                <a:lnTo>
                  <a:pt x="544075" y="262515"/>
                </a:lnTo>
                <a:lnTo>
                  <a:pt x="530716" y="234526"/>
                </a:lnTo>
                <a:lnTo>
                  <a:pt x="709182" y="234526"/>
                </a:lnTo>
                <a:lnTo>
                  <a:pt x="709107" y="214433"/>
                </a:lnTo>
                <a:lnTo>
                  <a:pt x="708189" y="197285"/>
                </a:lnTo>
                <a:lnTo>
                  <a:pt x="706562" y="187805"/>
                </a:lnTo>
                <a:lnTo>
                  <a:pt x="532591" y="187805"/>
                </a:lnTo>
                <a:lnTo>
                  <a:pt x="535905" y="178786"/>
                </a:lnTo>
                <a:lnTo>
                  <a:pt x="566978" y="150668"/>
                </a:lnTo>
                <a:lnTo>
                  <a:pt x="584442" y="148100"/>
                </a:lnTo>
                <a:lnTo>
                  <a:pt x="692855" y="148100"/>
                </a:lnTo>
                <a:lnTo>
                  <a:pt x="684598" y="135201"/>
                </a:lnTo>
                <a:lnTo>
                  <a:pt x="649383" y="103714"/>
                </a:lnTo>
                <a:lnTo>
                  <a:pt x="602343" y="88381"/>
                </a:lnTo>
                <a:lnTo>
                  <a:pt x="584442" y="87358"/>
                </a:lnTo>
                <a:close/>
              </a:path>
              <a:path w="2362835" h="342900">
                <a:moveTo>
                  <a:pt x="78950" y="9340"/>
                </a:moveTo>
                <a:lnTo>
                  <a:pt x="0" y="9340"/>
                </a:lnTo>
                <a:lnTo>
                  <a:pt x="104174" y="336377"/>
                </a:lnTo>
                <a:lnTo>
                  <a:pt x="169586" y="336377"/>
                </a:lnTo>
                <a:lnTo>
                  <a:pt x="216007" y="220977"/>
                </a:lnTo>
                <a:lnTo>
                  <a:pt x="144362" y="220977"/>
                </a:lnTo>
                <a:lnTo>
                  <a:pt x="78950" y="9340"/>
                </a:lnTo>
                <a:close/>
              </a:path>
              <a:path w="2362835" h="342900">
                <a:moveTo>
                  <a:pt x="306513" y="173795"/>
                </a:moveTo>
                <a:lnTo>
                  <a:pt x="234987" y="173795"/>
                </a:lnTo>
                <a:lnTo>
                  <a:pt x="300399" y="336377"/>
                </a:lnTo>
                <a:lnTo>
                  <a:pt x="365810" y="336377"/>
                </a:lnTo>
                <a:lnTo>
                  <a:pt x="402123" y="222380"/>
                </a:lnTo>
                <a:lnTo>
                  <a:pt x="326094" y="222380"/>
                </a:lnTo>
                <a:lnTo>
                  <a:pt x="306513" y="173795"/>
                </a:lnTo>
                <a:close/>
              </a:path>
              <a:path w="2362835" h="342900">
                <a:moveTo>
                  <a:pt x="704512" y="262557"/>
                </a:moveTo>
                <a:lnTo>
                  <a:pt x="628829" y="262557"/>
                </a:lnTo>
                <a:lnTo>
                  <a:pt x="622083" y="270939"/>
                </a:lnTo>
                <a:lnTo>
                  <a:pt x="613059" y="276923"/>
                </a:lnTo>
                <a:lnTo>
                  <a:pt x="601759" y="280512"/>
                </a:lnTo>
                <a:lnTo>
                  <a:pt x="588181" y="281708"/>
                </a:lnTo>
                <a:lnTo>
                  <a:pt x="697605" y="281708"/>
                </a:lnTo>
                <a:lnTo>
                  <a:pt x="701022" y="274107"/>
                </a:lnTo>
                <a:lnTo>
                  <a:pt x="704512" y="262557"/>
                </a:lnTo>
                <a:close/>
              </a:path>
              <a:path w="2362835" h="342900">
                <a:moveTo>
                  <a:pt x="469985" y="9340"/>
                </a:moveTo>
                <a:lnTo>
                  <a:pt x="391967" y="9340"/>
                </a:lnTo>
                <a:lnTo>
                  <a:pt x="326094" y="222380"/>
                </a:lnTo>
                <a:lnTo>
                  <a:pt x="402123" y="222380"/>
                </a:lnTo>
                <a:lnTo>
                  <a:pt x="469985" y="9340"/>
                </a:lnTo>
                <a:close/>
              </a:path>
              <a:path w="2362835" h="342900">
                <a:moveTo>
                  <a:pt x="238725" y="5601"/>
                </a:moveTo>
                <a:lnTo>
                  <a:pt x="232191" y="5601"/>
                </a:lnTo>
                <a:lnTo>
                  <a:pt x="144362" y="220977"/>
                </a:lnTo>
                <a:lnTo>
                  <a:pt x="216007" y="220977"/>
                </a:lnTo>
                <a:lnTo>
                  <a:pt x="234987" y="173795"/>
                </a:lnTo>
                <a:lnTo>
                  <a:pt x="306513" y="173795"/>
                </a:lnTo>
                <a:lnTo>
                  <a:pt x="238725" y="5601"/>
                </a:lnTo>
                <a:close/>
              </a:path>
              <a:path w="2362835" h="342900">
                <a:moveTo>
                  <a:pt x="692855" y="148100"/>
                </a:moveTo>
                <a:lnTo>
                  <a:pt x="584442" y="148100"/>
                </a:lnTo>
                <a:lnTo>
                  <a:pt x="593701" y="148742"/>
                </a:lnTo>
                <a:lnTo>
                  <a:pt x="602316" y="150668"/>
                </a:lnTo>
                <a:lnTo>
                  <a:pt x="633383" y="178786"/>
                </a:lnTo>
                <a:lnTo>
                  <a:pt x="636305" y="187805"/>
                </a:lnTo>
                <a:lnTo>
                  <a:pt x="706562" y="187805"/>
                </a:lnTo>
                <a:lnTo>
                  <a:pt x="705210" y="179926"/>
                </a:lnTo>
                <a:lnTo>
                  <a:pt x="700246" y="163761"/>
                </a:lnTo>
                <a:lnTo>
                  <a:pt x="693266" y="148742"/>
                </a:lnTo>
                <a:lnTo>
                  <a:pt x="692855" y="148100"/>
                </a:lnTo>
                <a:close/>
              </a:path>
              <a:path w="2362835" h="342900">
                <a:moveTo>
                  <a:pt x="949321" y="87358"/>
                </a:moveTo>
                <a:lnTo>
                  <a:pt x="907888" y="96692"/>
                </a:lnTo>
                <a:lnTo>
                  <a:pt x="874337" y="123624"/>
                </a:lnTo>
                <a:lnTo>
                  <a:pt x="852285" y="164447"/>
                </a:lnTo>
                <a:lnTo>
                  <a:pt x="844665" y="214904"/>
                </a:lnTo>
                <a:lnTo>
                  <a:pt x="845511" y="232642"/>
                </a:lnTo>
                <a:lnTo>
                  <a:pt x="858214" y="280075"/>
                </a:lnTo>
                <a:lnTo>
                  <a:pt x="884324" y="316474"/>
                </a:lnTo>
                <a:lnTo>
                  <a:pt x="920939" y="338242"/>
                </a:lnTo>
                <a:lnTo>
                  <a:pt x="949321" y="342450"/>
                </a:lnTo>
                <a:lnTo>
                  <a:pt x="961872" y="341515"/>
                </a:lnTo>
                <a:lnTo>
                  <a:pt x="1005820" y="319147"/>
                </a:lnTo>
                <a:lnTo>
                  <a:pt x="1026408" y="283582"/>
                </a:lnTo>
                <a:lnTo>
                  <a:pt x="1098353" y="283582"/>
                </a:lnTo>
                <a:lnTo>
                  <a:pt x="1098353" y="277038"/>
                </a:lnTo>
                <a:lnTo>
                  <a:pt x="976420" y="277038"/>
                </a:lnTo>
                <a:lnTo>
                  <a:pt x="964709" y="275958"/>
                </a:lnTo>
                <a:lnTo>
                  <a:pt x="927275" y="250468"/>
                </a:lnTo>
                <a:lnTo>
                  <a:pt x="917553" y="214904"/>
                </a:lnTo>
                <a:lnTo>
                  <a:pt x="918633" y="201764"/>
                </a:lnTo>
                <a:lnTo>
                  <a:pt x="943918" y="162497"/>
                </a:lnTo>
                <a:lnTo>
                  <a:pt x="976420" y="152770"/>
                </a:lnTo>
                <a:lnTo>
                  <a:pt x="1098353" y="152770"/>
                </a:lnTo>
                <a:lnTo>
                  <a:pt x="1098353" y="146225"/>
                </a:lnTo>
                <a:lnTo>
                  <a:pt x="1026408" y="146225"/>
                </a:lnTo>
                <a:lnTo>
                  <a:pt x="1021001" y="132620"/>
                </a:lnTo>
                <a:lnTo>
                  <a:pt x="1014139" y="120765"/>
                </a:lnTo>
                <a:lnTo>
                  <a:pt x="985235" y="95769"/>
                </a:lnTo>
                <a:lnTo>
                  <a:pt x="961872" y="88293"/>
                </a:lnTo>
                <a:lnTo>
                  <a:pt x="949321" y="87358"/>
                </a:lnTo>
                <a:close/>
              </a:path>
              <a:path w="2362835" h="342900">
                <a:moveTo>
                  <a:pt x="1098353" y="283582"/>
                </a:moveTo>
                <a:lnTo>
                  <a:pt x="1026408" y="283582"/>
                </a:lnTo>
                <a:lnTo>
                  <a:pt x="1026408" y="336377"/>
                </a:lnTo>
                <a:lnTo>
                  <a:pt x="1098353" y="336377"/>
                </a:lnTo>
                <a:lnTo>
                  <a:pt x="1098353" y="283582"/>
                </a:lnTo>
                <a:close/>
              </a:path>
              <a:path w="2362835" h="342900">
                <a:moveTo>
                  <a:pt x="1098353" y="152770"/>
                </a:moveTo>
                <a:lnTo>
                  <a:pt x="976420" y="152770"/>
                </a:lnTo>
                <a:lnTo>
                  <a:pt x="988023" y="153851"/>
                </a:lnTo>
                <a:lnTo>
                  <a:pt x="998549" y="157094"/>
                </a:lnTo>
                <a:lnTo>
                  <a:pt x="1028099" y="189909"/>
                </a:lnTo>
                <a:lnTo>
                  <a:pt x="1032010" y="214904"/>
                </a:lnTo>
                <a:lnTo>
                  <a:pt x="1031032" y="228044"/>
                </a:lnTo>
                <a:lnTo>
                  <a:pt x="1007997" y="267315"/>
                </a:lnTo>
                <a:lnTo>
                  <a:pt x="976420" y="277038"/>
                </a:lnTo>
                <a:lnTo>
                  <a:pt x="1098353" y="277038"/>
                </a:lnTo>
                <a:lnTo>
                  <a:pt x="1098353" y="152770"/>
                </a:lnTo>
                <a:close/>
              </a:path>
              <a:path w="2362835" h="342900">
                <a:moveTo>
                  <a:pt x="1098353" y="0"/>
                </a:moveTo>
                <a:lnTo>
                  <a:pt x="1026408" y="0"/>
                </a:lnTo>
                <a:lnTo>
                  <a:pt x="1026408" y="146225"/>
                </a:lnTo>
                <a:lnTo>
                  <a:pt x="1098353" y="146225"/>
                </a:lnTo>
                <a:lnTo>
                  <a:pt x="1098353" y="0"/>
                </a:lnTo>
                <a:close/>
              </a:path>
              <a:path w="2362835" h="342900">
                <a:moveTo>
                  <a:pt x="1255794" y="87358"/>
                </a:moveTo>
                <a:lnTo>
                  <a:pt x="1206603" y="96692"/>
                </a:lnTo>
                <a:lnTo>
                  <a:pt x="1166727" y="123511"/>
                </a:lnTo>
                <a:lnTo>
                  <a:pt x="1140270" y="163761"/>
                </a:lnTo>
                <a:lnTo>
                  <a:pt x="1131054" y="214433"/>
                </a:lnTo>
                <a:lnTo>
                  <a:pt x="1132061" y="232994"/>
                </a:lnTo>
                <a:lnTo>
                  <a:pt x="1147169" y="281478"/>
                </a:lnTo>
                <a:lnTo>
                  <a:pt x="1178572" y="317478"/>
                </a:lnTo>
                <a:lnTo>
                  <a:pt x="1223554" y="338420"/>
                </a:lnTo>
                <a:lnTo>
                  <a:pt x="1259532" y="342450"/>
                </a:lnTo>
                <a:lnTo>
                  <a:pt x="1273721" y="341822"/>
                </a:lnTo>
                <a:lnTo>
                  <a:pt x="1312787" y="332398"/>
                </a:lnTo>
                <a:lnTo>
                  <a:pt x="1353665" y="304367"/>
                </a:lnTo>
                <a:lnTo>
                  <a:pt x="1368953" y="281708"/>
                </a:lnTo>
                <a:lnTo>
                  <a:pt x="1259532" y="281708"/>
                </a:lnTo>
                <a:lnTo>
                  <a:pt x="1248971" y="280935"/>
                </a:lnTo>
                <a:lnTo>
                  <a:pt x="1215417" y="262515"/>
                </a:lnTo>
                <a:lnTo>
                  <a:pt x="1202068" y="234526"/>
                </a:lnTo>
                <a:lnTo>
                  <a:pt x="1380533" y="234526"/>
                </a:lnTo>
                <a:lnTo>
                  <a:pt x="1380458" y="214433"/>
                </a:lnTo>
                <a:lnTo>
                  <a:pt x="1379540" y="197285"/>
                </a:lnTo>
                <a:lnTo>
                  <a:pt x="1377913" y="187805"/>
                </a:lnTo>
                <a:lnTo>
                  <a:pt x="1203931" y="187805"/>
                </a:lnTo>
                <a:lnTo>
                  <a:pt x="1207246" y="178786"/>
                </a:lnTo>
                <a:lnTo>
                  <a:pt x="1238330" y="150668"/>
                </a:lnTo>
                <a:lnTo>
                  <a:pt x="1255794" y="148100"/>
                </a:lnTo>
                <a:lnTo>
                  <a:pt x="1364206" y="148100"/>
                </a:lnTo>
                <a:lnTo>
                  <a:pt x="1355944" y="135201"/>
                </a:lnTo>
                <a:lnTo>
                  <a:pt x="1320734" y="103714"/>
                </a:lnTo>
                <a:lnTo>
                  <a:pt x="1273689" y="88381"/>
                </a:lnTo>
                <a:lnTo>
                  <a:pt x="1255794" y="87358"/>
                </a:lnTo>
                <a:close/>
              </a:path>
              <a:path w="2362835" h="342900">
                <a:moveTo>
                  <a:pt x="1375853" y="262557"/>
                </a:moveTo>
                <a:lnTo>
                  <a:pt x="1300169" y="262557"/>
                </a:lnTo>
                <a:lnTo>
                  <a:pt x="1293425" y="270939"/>
                </a:lnTo>
                <a:lnTo>
                  <a:pt x="1284405" y="276923"/>
                </a:lnTo>
                <a:lnTo>
                  <a:pt x="1273108" y="280512"/>
                </a:lnTo>
                <a:lnTo>
                  <a:pt x="1259532" y="281708"/>
                </a:lnTo>
                <a:lnTo>
                  <a:pt x="1368953" y="281708"/>
                </a:lnTo>
                <a:lnTo>
                  <a:pt x="1372368" y="274107"/>
                </a:lnTo>
                <a:lnTo>
                  <a:pt x="1375853" y="262557"/>
                </a:lnTo>
                <a:close/>
              </a:path>
              <a:path w="2362835" h="342900">
                <a:moveTo>
                  <a:pt x="1364206" y="148100"/>
                </a:moveTo>
                <a:lnTo>
                  <a:pt x="1255794" y="148100"/>
                </a:lnTo>
                <a:lnTo>
                  <a:pt x="1265047" y="148742"/>
                </a:lnTo>
                <a:lnTo>
                  <a:pt x="1273660" y="150668"/>
                </a:lnTo>
                <a:lnTo>
                  <a:pt x="1304728" y="178786"/>
                </a:lnTo>
                <a:lnTo>
                  <a:pt x="1307646" y="187805"/>
                </a:lnTo>
                <a:lnTo>
                  <a:pt x="1377913" y="187805"/>
                </a:lnTo>
                <a:lnTo>
                  <a:pt x="1376561" y="179926"/>
                </a:lnTo>
                <a:lnTo>
                  <a:pt x="1371597" y="163761"/>
                </a:lnTo>
                <a:lnTo>
                  <a:pt x="1364618" y="148742"/>
                </a:lnTo>
                <a:lnTo>
                  <a:pt x="1364206" y="148100"/>
                </a:lnTo>
                <a:close/>
              </a:path>
              <a:path w="2362835" h="342900">
                <a:moveTo>
                  <a:pt x="1485179" y="0"/>
                </a:moveTo>
                <a:lnTo>
                  <a:pt x="1413234" y="0"/>
                </a:lnTo>
                <a:lnTo>
                  <a:pt x="1413234" y="336377"/>
                </a:lnTo>
                <a:lnTo>
                  <a:pt x="1485179" y="336377"/>
                </a:lnTo>
                <a:lnTo>
                  <a:pt x="1485179" y="0"/>
                </a:lnTo>
                <a:close/>
              </a:path>
              <a:path w="2362835" h="342900">
                <a:moveTo>
                  <a:pt x="1603846" y="93442"/>
                </a:moveTo>
                <a:lnTo>
                  <a:pt x="1531901" y="93442"/>
                </a:lnTo>
                <a:lnTo>
                  <a:pt x="1531901" y="336377"/>
                </a:lnTo>
                <a:lnTo>
                  <a:pt x="1603846" y="336377"/>
                </a:lnTo>
                <a:lnTo>
                  <a:pt x="1603846" y="93442"/>
                </a:lnTo>
                <a:close/>
              </a:path>
              <a:path w="2362835" h="342900">
                <a:moveTo>
                  <a:pt x="1567868" y="0"/>
                </a:moveTo>
                <a:lnTo>
                  <a:pt x="1533324" y="16219"/>
                </a:lnTo>
                <a:lnTo>
                  <a:pt x="1526759" y="38773"/>
                </a:lnTo>
                <a:lnTo>
                  <a:pt x="1527504" y="47039"/>
                </a:lnTo>
                <a:lnTo>
                  <a:pt x="1559559" y="77780"/>
                </a:lnTo>
                <a:lnTo>
                  <a:pt x="1567868" y="78479"/>
                </a:lnTo>
                <a:lnTo>
                  <a:pt x="1576363" y="77780"/>
                </a:lnTo>
                <a:lnTo>
                  <a:pt x="1608255" y="47039"/>
                </a:lnTo>
                <a:lnTo>
                  <a:pt x="1608987" y="38773"/>
                </a:lnTo>
                <a:lnTo>
                  <a:pt x="1608255" y="30351"/>
                </a:lnTo>
                <a:lnTo>
                  <a:pt x="1576363" y="656"/>
                </a:lnTo>
                <a:lnTo>
                  <a:pt x="1567868" y="0"/>
                </a:lnTo>
                <a:close/>
              </a:path>
              <a:path w="2362835" h="342900">
                <a:moveTo>
                  <a:pt x="2004221" y="87358"/>
                </a:moveTo>
                <a:lnTo>
                  <a:pt x="1955035" y="96692"/>
                </a:lnTo>
                <a:lnTo>
                  <a:pt x="1915165" y="123511"/>
                </a:lnTo>
                <a:lnTo>
                  <a:pt x="1888702" y="163761"/>
                </a:lnTo>
                <a:lnTo>
                  <a:pt x="1879482" y="214433"/>
                </a:lnTo>
                <a:lnTo>
                  <a:pt x="1880489" y="232994"/>
                </a:lnTo>
                <a:lnTo>
                  <a:pt x="1895596" y="281478"/>
                </a:lnTo>
                <a:lnTo>
                  <a:pt x="1927001" y="317478"/>
                </a:lnTo>
                <a:lnTo>
                  <a:pt x="1971985" y="338420"/>
                </a:lnTo>
                <a:lnTo>
                  <a:pt x="2007959" y="342450"/>
                </a:lnTo>
                <a:lnTo>
                  <a:pt x="2022148" y="341822"/>
                </a:lnTo>
                <a:lnTo>
                  <a:pt x="2061214" y="332398"/>
                </a:lnTo>
                <a:lnTo>
                  <a:pt x="2102103" y="304367"/>
                </a:lnTo>
                <a:lnTo>
                  <a:pt x="2117384" y="281708"/>
                </a:lnTo>
                <a:lnTo>
                  <a:pt x="2007959" y="281708"/>
                </a:lnTo>
                <a:lnTo>
                  <a:pt x="1997399" y="280935"/>
                </a:lnTo>
                <a:lnTo>
                  <a:pt x="1963853" y="262515"/>
                </a:lnTo>
                <a:lnTo>
                  <a:pt x="1950495" y="234526"/>
                </a:lnTo>
                <a:lnTo>
                  <a:pt x="2128961" y="234526"/>
                </a:lnTo>
                <a:lnTo>
                  <a:pt x="2128886" y="214433"/>
                </a:lnTo>
                <a:lnTo>
                  <a:pt x="2127968" y="197285"/>
                </a:lnTo>
                <a:lnTo>
                  <a:pt x="2126341" y="187805"/>
                </a:lnTo>
                <a:lnTo>
                  <a:pt x="1952359" y="187805"/>
                </a:lnTo>
                <a:lnTo>
                  <a:pt x="1955673" y="178786"/>
                </a:lnTo>
                <a:lnTo>
                  <a:pt x="1986757" y="150668"/>
                </a:lnTo>
                <a:lnTo>
                  <a:pt x="2004221" y="148100"/>
                </a:lnTo>
                <a:lnTo>
                  <a:pt x="2112634" y="148100"/>
                </a:lnTo>
                <a:lnTo>
                  <a:pt x="2104373" y="135201"/>
                </a:lnTo>
                <a:lnTo>
                  <a:pt x="2069162" y="103714"/>
                </a:lnTo>
                <a:lnTo>
                  <a:pt x="2022116" y="88381"/>
                </a:lnTo>
                <a:lnTo>
                  <a:pt x="2004221" y="87358"/>
                </a:lnTo>
                <a:close/>
              </a:path>
              <a:path w="2362835" h="342900">
                <a:moveTo>
                  <a:pt x="1702880" y="93431"/>
                </a:moveTo>
                <a:lnTo>
                  <a:pt x="1624861" y="93431"/>
                </a:lnTo>
                <a:lnTo>
                  <a:pt x="1723905" y="336377"/>
                </a:lnTo>
                <a:lnTo>
                  <a:pt x="1782772" y="336377"/>
                </a:lnTo>
                <a:lnTo>
                  <a:pt x="1825439" y="231720"/>
                </a:lnTo>
                <a:lnTo>
                  <a:pt x="1753810" y="231720"/>
                </a:lnTo>
                <a:lnTo>
                  <a:pt x="1702880" y="93431"/>
                </a:lnTo>
                <a:close/>
              </a:path>
              <a:path w="2362835" h="342900">
                <a:moveTo>
                  <a:pt x="2124291" y="262557"/>
                </a:moveTo>
                <a:lnTo>
                  <a:pt x="2048607" y="262557"/>
                </a:lnTo>
                <a:lnTo>
                  <a:pt x="2041861" y="270939"/>
                </a:lnTo>
                <a:lnTo>
                  <a:pt x="2032838" y="276923"/>
                </a:lnTo>
                <a:lnTo>
                  <a:pt x="2021537" y="280512"/>
                </a:lnTo>
                <a:lnTo>
                  <a:pt x="2007959" y="281708"/>
                </a:lnTo>
                <a:lnTo>
                  <a:pt x="2117384" y="281708"/>
                </a:lnTo>
                <a:lnTo>
                  <a:pt x="2120800" y="274107"/>
                </a:lnTo>
                <a:lnTo>
                  <a:pt x="2124291" y="262557"/>
                </a:lnTo>
                <a:close/>
              </a:path>
              <a:path w="2362835" h="342900">
                <a:moveTo>
                  <a:pt x="1881817" y="93431"/>
                </a:moveTo>
                <a:lnTo>
                  <a:pt x="1804730" y="93431"/>
                </a:lnTo>
                <a:lnTo>
                  <a:pt x="1753810" y="231720"/>
                </a:lnTo>
                <a:lnTo>
                  <a:pt x="1825439" y="231720"/>
                </a:lnTo>
                <a:lnTo>
                  <a:pt x="1881817" y="93431"/>
                </a:lnTo>
                <a:close/>
              </a:path>
              <a:path w="2362835" h="342900">
                <a:moveTo>
                  <a:pt x="2112634" y="148100"/>
                </a:moveTo>
                <a:lnTo>
                  <a:pt x="2004221" y="148100"/>
                </a:lnTo>
                <a:lnTo>
                  <a:pt x="2013476" y="148742"/>
                </a:lnTo>
                <a:lnTo>
                  <a:pt x="2022091" y="150668"/>
                </a:lnTo>
                <a:lnTo>
                  <a:pt x="2053160" y="178786"/>
                </a:lnTo>
                <a:lnTo>
                  <a:pt x="2056083" y="187805"/>
                </a:lnTo>
                <a:lnTo>
                  <a:pt x="2126341" y="187805"/>
                </a:lnTo>
                <a:lnTo>
                  <a:pt x="2124988" y="179926"/>
                </a:lnTo>
                <a:lnTo>
                  <a:pt x="2120024" y="163761"/>
                </a:lnTo>
                <a:lnTo>
                  <a:pt x="2113045" y="148742"/>
                </a:lnTo>
                <a:lnTo>
                  <a:pt x="2112634" y="148100"/>
                </a:lnTo>
                <a:close/>
              </a:path>
              <a:path w="2362835" h="342900">
                <a:moveTo>
                  <a:pt x="2233617" y="93431"/>
                </a:moveTo>
                <a:lnTo>
                  <a:pt x="2161661" y="93431"/>
                </a:lnTo>
                <a:lnTo>
                  <a:pt x="2161661" y="336377"/>
                </a:lnTo>
                <a:lnTo>
                  <a:pt x="2233617" y="336377"/>
                </a:lnTo>
                <a:lnTo>
                  <a:pt x="2233617" y="199020"/>
                </a:lnTo>
                <a:lnTo>
                  <a:pt x="2234099" y="188420"/>
                </a:lnTo>
                <a:lnTo>
                  <a:pt x="2257746" y="152154"/>
                </a:lnTo>
                <a:lnTo>
                  <a:pt x="2265386" y="151367"/>
                </a:lnTo>
                <a:lnTo>
                  <a:pt x="2358447" y="151367"/>
                </a:lnTo>
                <a:lnTo>
                  <a:pt x="2356480" y="142490"/>
                </a:lnTo>
                <a:lnTo>
                  <a:pt x="2354328" y="136885"/>
                </a:lnTo>
                <a:lnTo>
                  <a:pt x="2233617" y="136885"/>
                </a:lnTo>
                <a:lnTo>
                  <a:pt x="2233617" y="93431"/>
                </a:lnTo>
                <a:close/>
              </a:path>
              <a:path w="2362835" h="342900">
                <a:moveTo>
                  <a:pt x="2358447" y="151367"/>
                </a:moveTo>
                <a:lnTo>
                  <a:pt x="2273166" y="151367"/>
                </a:lnTo>
                <a:lnTo>
                  <a:pt x="2278998" y="153702"/>
                </a:lnTo>
                <a:lnTo>
                  <a:pt x="2286789" y="163042"/>
                </a:lnTo>
                <a:lnTo>
                  <a:pt x="2289364" y="170832"/>
                </a:lnTo>
                <a:lnTo>
                  <a:pt x="2290610" y="181732"/>
                </a:lnTo>
                <a:lnTo>
                  <a:pt x="2362556" y="181732"/>
                </a:lnTo>
                <a:lnTo>
                  <a:pt x="2360569" y="160943"/>
                </a:lnTo>
                <a:lnTo>
                  <a:pt x="2358447" y="151367"/>
                </a:lnTo>
                <a:close/>
              </a:path>
              <a:path w="2362835" h="342900">
                <a:moveTo>
                  <a:pt x="2292945" y="87358"/>
                </a:moveTo>
                <a:lnTo>
                  <a:pt x="2256967" y="100206"/>
                </a:lnTo>
                <a:lnTo>
                  <a:pt x="2233617" y="136885"/>
                </a:lnTo>
                <a:lnTo>
                  <a:pt x="2354328" y="136885"/>
                </a:lnTo>
                <a:lnTo>
                  <a:pt x="2331926" y="101551"/>
                </a:lnTo>
                <a:lnTo>
                  <a:pt x="2292945" y="8735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68548" y="224056"/>
            <a:ext cx="8609878" cy="345351"/>
          </a:xfrm>
        </p:spPr>
        <p:txBody>
          <a:bodyPr lIns="0" tIns="0" rIns="0" bIns="0"/>
          <a:lstStyle>
            <a:lvl1pPr>
              <a:defRPr sz="2244" b="1" i="0">
                <a:solidFill>
                  <a:schemeClr val="bg1"/>
                </a:solidFill>
                <a:latin typeface="RMFirstClass-Solid"/>
                <a:cs typeface="RMFirstClass-Soli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8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792599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8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907852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D panel">
            <a:extLst>
              <a:ext uri="{FF2B5EF4-FFF2-40B4-BE49-F238E27FC236}">
                <a16:creationId xmlns:a16="http://schemas.microsoft.com/office/drawing/2014/main" id="{26412E7C-8BCC-406C-BE71-A142E37327AF}"/>
              </a:ext>
            </a:extLst>
          </p:cNvPr>
          <p:cNvSpPr/>
          <p:nvPr userDrawn="1"/>
        </p:nvSpPr>
        <p:spPr>
          <a:xfrm>
            <a:off x="9452114" y="0"/>
            <a:ext cx="2739886" cy="6858000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17B3C4BC-D53A-4106-A568-0C35ADED83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3695" y="5757632"/>
            <a:ext cx="1387977" cy="77162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EF1C8C9-93C6-49CC-B701-05A37369130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3719" y="0"/>
            <a:ext cx="447257" cy="6858000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469347F-6C1C-47E4-A9C2-6E65A900BE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566278" y="315915"/>
            <a:ext cx="2462213" cy="3113087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  <a:lvl2pPr>
              <a:defRPr sz="3600">
                <a:solidFill>
                  <a:schemeClr val="bg1"/>
                </a:solidFill>
                <a:latin typeface="+mn-lt"/>
              </a:defRPr>
            </a:lvl2pPr>
            <a:lvl3pPr>
              <a:defRPr sz="3600">
                <a:solidFill>
                  <a:schemeClr val="bg1"/>
                </a:solidFill>
                <a:latin typeface="+mn-lt"/>
              </a:defRPr>
            </a:lvl3pPr>
            <a:lvl4pPr>
              <a:defRPr sz="3600">
                <a:solidFill>
                  <a:schemeClr val="bg1"/>
                </a:solidFill>
                <a:latin typeface="+mn-lt"/>
              </a:defRPr>
            </a:lvl4pPr>
            <a:lvl5pPr>
              <a:defRPr sz="36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6891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D panel">
            <a:extLst>
              <a:ext uri="{FF2B5EF4-FFF2-40B4-BE49-F238E27FC236}">
                <a16:creationId xmlns:a16="http://schemas.microsoft.com/office/drawing/2014/main" id="{FAA5827C-7538-4B59-B2B6-500EC19FBCE1}"/>
              </a:ext>
            </a:extLst>
          </p:cNvPr>
          <p:cNvSpPr/>
          <p:nvPr userDrawn="1"/>
        </p:nvSpPr>
        <p:spPr>
          <a:xfrm>
            <a:off x="9452114" y="0"/>
            <a:ext cx="2739886" cy="6858000"/>
          </a:xfrm>
          <a:prstGeom prst="rect">
            <a:avLst/>
          </a:prstGeom>
          <a:solidFill>
            <a:srgbClr val="0067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B61171-F440-489F-ABB0-EBE2141A3D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3695" y="5757632"/>
            <a:ext cx="1387977" cy="7716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DB4B6D-1616-4B71-8F03-A77146E5EE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11012" y="406400"/>
            <a:ext cx="1838960" cy="2387600"/>
          </a:xfrm>
        </p:spPr>
        <p:txBody>
          <a:bodyPr anchor="b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63C48F1-09AF-4A5F-BDC3-6C2300260FDE}"/>
              </a:ext>
            </a:extLst>
          </p:cNvPr>
          <p:cNvSpPr/>
          <p:nvPr userDrawn="1"/>
        </p:nvSpPr>
        <p:spPr>
          <a:xfrm>
            <a:off x="9014981" y="0"/>
            <a:ext cx="437131" cy="6858000"/>
          </a:xfrm>
          <a:prstGeom prst="rect">
            <a:avLst/>
          </a:prstGeom>
          <a:solidFill>
            <a:srgbClr val="006781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73086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D panel">
            <a:extLst>
              <a:ext uri="{FF2B5EF4-FFF2-40B4-BE49-F238E27FC236}">
                <a16:creationId xmlns:a16="http://schemas.microsoft.com/office/drawing/2014/main" id="{26412E7C-8BCC-406C-BE71-A142E37327AF}"/>
              </a:ext>
            </a:extLst>
          </p:cNvPr>
          <p:cNvSpPr/>
          <p:nvPr userDrawn="1"/>
        </p:nvSpPr>
        <p:spPr>
          <a:xfrm>
            <a:off x="9452114" y="0"/>
            <a:ext cx="2739886" cy="6858000"/>
          </a:xfrm>
          <a:prstGeom prst="rect">
            <a:avLst/>
          </a:prstGeom>
          <a:solidFill>
            <a:srgbClr val="4183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17B3C4BC-D53A-4106-A568-0C35ADED83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3695" y="5757632"/>
            <a:ext cx="1387977" cy="77162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6B2BB08-F52B-41AB-888A-B3C3E4329A47}"/>
              </a:ext>
            </a:extLst>
          </p:cNvPr>
          <p:cNvSpPr/>
          <p:nvPr userDrawn="1"/>
        </p:nvSpPr>
        <p:spPr>
          <a:xfrm>
            <a:off x="9014981" y="0"/>
            <a:ext cx="437131" cy="6858000"/>
          </a:xfrm>
          <a:prstGeom prst="rect">
            <a:avLst/>
          </a:prstGeom>
          <a:solidFill>
            <a:srgbClr val="41834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D0141D-E832-487F-A02B-D61BE7AAEF6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590089" y="363540"/>
            <a:ext cx="2425700" cy="3398837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  <a:lvl2pPr>
              <a:defRPr sz="3600">
                <a:solidFill>
                  <a:schemeClr val="bg1"/>
                </a:solidFill>
                <a:latin typeface="+mn-lt"/>
              </a:defRPr>
            </a:lvl2pPr>
            <a:lvl3pPr>
              <a:defRPr sz="3600">
                <a:solidFill>
                  <a:schemeClr val="bg1"/>
                </a:solidFill>
                <a:latin typeface="+mn-lt"/>
              </a:defRPr>
            </a:lvl3pPr>
            <a:lvl4pPr>
              <a:defRPr sz="3600">
                <a:solidFill>
                  <a:schemeClr val="bg1"/>
                </a:solidFill>
                <a:latin typeface="+mn-lt"/>
              </a:defRPr>
            </a:lvl4pPr>
            <a:lvl5pPr>
              <a:defRPr sz="36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42501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8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4B43EEA-2BF7-4D57-90A2-139CE27259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0216190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4B43EEA-2BF7-4D57-90A2-139CE27259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0"/>
            <a:ext cx="12192000" cy="800164"/>
          </a:xfrm>
          <a:custGeom>
            <a:avLst/>
            <a:gdLst/>
            <a:ahLst/>
            <a:cxnLst/>
            <a:rect l="l" t="t" r="r" b="b"/>
            <a:pathLst>
              <a:path w="20104100" h="1319530">
                <a:moveTo>
                  <a:pt x="20104099" y="0"/>
                </a:moveTo>
                <a:lnTo>
                  <a:pt x="0" y="0"/>
                </a:lnTo>
                <a:lnTo>
                  <a:pt x="0" y="1319331"/>
                </a:lnTo>
                <a:lnTo>
                  <a:pt x="20104099" y="1319331"/>
                </a:lnTo>
                <a:lnTo>
                  <a:pt x="20104099" y="0"/>
                </a:lnTo>
                <a:close/>
              </a:path>
            </a:pathLst>
          </a:custGeom>
          <a:solidFill>
            <a:srgbClr val="DA202A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68548" y="224056"/>
            <a:ext cx="8609878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00" b="1" i="0">
                <a:solidFill>
                  <a:schemeClr val="bg1"/>
                </a:solidFill>
                <a:latin typeface="RMFirstClass-Solid"/>
                <a:cs typeface="RMFirstClass-Soli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561066" y="1319077"/>
            <a:ext cx="6032460" cy="3924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550" b="1" i="0">
                <a:solidFill>
                  <a:schemeClr val="bg1"/>
                </a:solidFill>
                <a:latin typeface="RMFirstClass-Solid"/>
                <a:cs typeface="RMFirstClass-Solid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8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1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8" name="MSIPCMContentMarking" descr="{&quot;HashCode&quot;:-685326706,&quot;Placement&quot;:&quot;Footer&quot;,&quot;Top&quot;:869.843,&quot;Left&quot;:0.0,&quot;SlideWidth&quot;:1583,&quot;SlideHeight&quot;:890}">
            <a:extLst>
              <a:ext uri="{FF2B5EF4-FFF2-40B4-BE49-F238E27FC236}">
                <a16:creationId xmlns:a16="http://schemas.microsoft.com/office/drawing/2014/main" id="{AB8C5F92-E45E-45E1-AACE-E288D38ED6E0}"/>
              </a:ext>
            </a:extLst>
          </p:cNvPr>
          <p:cNvSpPr txBox="1"/>
          <p:nvPr userDrawn="1"/>
        </p:nvSpPr>
        <p:spPr>
          <a:xfrm>
            <a:off x="0" y="6731842"/>
            <a:ext cx="989175" cy="9323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606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1600166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585BBDD-A5DD-4E7B-AF06-7B47E608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4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BCEF72-3F31-43F5-A1E8-74C08D645D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4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01E5DE-2F60-477D-8042-3525ADBEB0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D50929-8EA4-4EDB-B4C8-6A74A04337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4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1C5A79-29E2-448C-9158-1FD711287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3E8B9C-6311-4C7D-8E7A-1596F958E61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187162-E300-4B1D-8A70-786057C38EEA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90500" y="6515100"/>
            <a:ext cx="13525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: RMG – Internal</a:t>
            </a:r>
          </a:p>
        </p:txBody>
      </p:sp>
    </p:spTree>
    <p:custDataLst>
      <p:tags r:id="rId17"/>
    </p:custDataLst>
    <p:extLst>
      <p:ext uri="{BB962C8B-B14F-4D97-AF65-F5344CB8AC3E}">
        <p14:creationId xmlns:p14="http://schemas.microsoft.com/office/powerpoint/2010/main" val="3070125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</p:sldLayoutIdLst>
  <p:hf hdr="0" ftr="0" dt="0"/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6" indent="-228606" algn="l" defTabSz="91442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6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4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FE14C4-1E19-350F-117B-4F2E176BD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038" y="2782092"/>
            <a:ext cx="8609274" cy="1107996"/>
          </a:xfrm>
        </p:spPr>
        <p:txBody>
          <a:bodyPr/>
          <a:lstStyle/>
          <a:p>
            <a:r>
              <a:rPr lang="en-GB" sz="4000" dirty="0">
                <a:latin typeface="RM First Class Inline" panose="04020805020B03030202" pitchFamily="82" charset="0"/>
              </a:rPr>
              <a:t>Raising Concerns </a:t>
            </a:r>
            <a:br>
              <a:rPr lang="en-GB" sz="3200" dirty="0">
                <a:latin typeface="RM First Class Solid" panose="020B0802020202020204" pitchFamily="34" charset="0"/>
              </a:rPr>
            </a:br>
            <a:r>
              <a:rPr lang="en-GB" sz="3200" b="0" dirty="0">
                <a:latin typeface="RM First Class Solid" panose="020B0802020202020204" pitchFamily="34" charset="0"/>
              </a:rPr>
              <a:t>July 2025</a:t>
            </a:r>
            <a:endParaRPr lang="en-GB" sz="3200" dirty="0">
              <a:latin typeface="RM First Class Solid" panose="020B08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35082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>
            <a:extLst>
              <a:ext uri="{FF2B5EF4-FFF2-40B4-BE49-F238E27FC236}">
                <a16:creationId xmlns:a16="http://schemas.microsoft.com/office/drawing/2014/main" id="{D61A5013-E008-438A-84FB-735C4BF31A1B}"/>
              </a:ext>
            </a:extLst>
          </p:cNvPr>
          <p:cNvSpPr txBox="1">
            <a:spLocks/>
          </p:cNvSpPr>
          <p:nvPr/>
        </p:nvSpPr>
        <p:spPr>
          <a:xfrm>
            <a:off x="351203" y="223251"/>
            <a:ext cx="8609274" cy="3453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00" b="1" i="0">
                <a:solidFill>
                  <a:schemeClr val="bg1"/>
                </a:solidFill>
                <a:latin typeface="RMFirstClass-Solid"/>
                <a:ea typeface="+mj-ea"/>
                <a:cs typeface="RMFirstClass-Solid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244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RM First Class Solid" panose="020B0802020202020204" pitchFamily="34" charset="0"/>
                <a:ea typeface="+mj-ea"/>
              </a:rPr>
              <a:t>Raising Concerns – Overview of cases</a:t>
            </a:r>
            <a:endParaRPr kumimoji="0" lang="en-GB" sz="2244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highlight>
                <a:srgbClr val="FFFF00"/>
              </a:highlight>
              <a:uLnTx/>
              <a:uFillTx/>
              <a:latin typeface="RM First Class Solid" panose="020B0802020202020204" pitchFamily="34" charset="0"/>
              <a:ea typeface="+mj-ea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4D8D46A-0DFF-E50C-4E3A-716751EA42B4}"/>
              </a:ext>
            </a:extLst>
          </p:cNvPr>
          <p:cNvSpPr txBox="1"/>
          <p:nvPr/>
        </p:nvSpPr>
        <p:spPr>
          <a:xfrm>
            <a:off x="251926" y="1230330"/>
            <a:ext cx="584407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M First Class Solid" panose="020B0802020202020204" pitchFamily="34" charset="0"/>
                <a:ea typeface="+mn-ea"/>
                <a:cs typeface="+mn-cs"/>
              </a:rPr>
              <a:t>Overview of cases raised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RM First Class Solid" panose="020B0802020202020204" pitchFamily="34" charset="0"/>
                <a:ea typeface="+mn-ea"/>
                <a:cs typeface="+mn-cs"/>
              </a:rPr>
              <a:t>3892 concerns raised since launch*</a:t>
            </a:r>
          </a:p>
          <a:p>
            <a:pPr marL="447675" marR="0" lvl="1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-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RM First Class Solid" panose="020B0802020202020204" pitchFamily="34" charset="0"/>
                <a:ea typeface="+mn-ea"/>
                <a:cs typeface="+mn-cs"/>
              </a:rPr>
              <a:t>22% cases currently open (853)</a:t>
            </a:r>
          </a:p>
          <a:p>
            <a:pPr marL="447675" marR="0" lvl="1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-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RM First Class Solid" panose="020B0802020202020204" pitchFamily="34" charset="0"/>
                <a:ea typeface="+mn-ea"/>
                <a:cs typeface="+mn-cs"/>
              </a:rPr>
              <a:t>78% cases concluded (3039)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2AA7815-9550-48CF-B372-7C189808A6C9}"/>
              </a:ext>
            </a:extLst>
          </p:cNvPr>
          <p:cNvSpPr txBox="1"/>
          <p:nvPr/>
        </p:nvSpPr>
        <p:spPr>
          <a:xfrm>
            <a:off x="9682299" y="6459550"/>
            <a:ext cx="25097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M First Class App Solid" panose="020B0802020202020204" pitchFamily="34" charset="0"/>
                <a:ea typeface="+mn-ea"/>
                <a:cs typeface="+mn-cs"/>
              </a:rPr>
              <a:t>*Data from 22</a:t>
            </a:r>
            <a:r>
              <a:rPr kumimoji="0" lang="en-GB" sz="12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M First Class App Solid" panose="020B0802020202020204" pitchFamily="34" charset="0"/>
                <a:ea typeface="+mn-ea"/>
                <a:cs typeface="+mn-cs"/>
              </a:rPr>
              <a:t>nd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M First Class App Solid" panose="020B0802020202020204" pitchFamily="34" charset="0"/>
                <a:ea typeface="+mn-ea"/>
                <a:cs typeface="+mn-cs"/>
              </a:rPr>
              <a:t> July 2025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AC501BC-13C5-6D96-8519-0BF53B921769}"/>
              </a:ext>
            </a:extLst>
          </p:cNvPr>
          <p:cNvGraphicFramePr>
            <a:graphicFrameLocks noGrp="1"/>
          </p:cNvGraphicFramePr>
          <p:nvPr/>
        </p:nvGraphicFramePr>
        <p:xfrm>
          <a:off x="6508915" y="1046433"/>
          <a:ext cx="4751027" cy="5040000"/>
        </p:xfrm>
        <a:graphic>
          <a:graphicData uri="http://schemas.openxmlformats.org/drawingml/2006/table">
            <a:tbl>
              <a:tblPr firstRow="1" lastRow="1"/>
              <a:tblGrid>
                <a:gridCol w="3116959">
                  <a:extLst>
                    <a:ext uri="{9D8B030D-6E8A-4147-A177-3AD203B41FA5}">
                      <a16:colId xmlns:a16="http://schemas.microsoft.com/office/drawing/2014/main" val="2291820386"/>
                    </a:ext>
                  </a:extLst>
                </a:gridCol>
                <a:gridCol w="817034">
                  <a:extLst>
                    <a:ext uri="{9D8B030D-6E8A-4147-A177-3AD203B41FA5}">
                      <a16:colId xmlns:a16="http://schemas.microsoft.com/office/drawing/2014/main" val="2143462347"/>
                    </a:ext>
                  </a:extLst>
                </a:gridCol>
                <a:gridCol w="817034">
                  <a:extLst>
                    <a:ext uri="{9D8B030D-6E8A-4147-A177-3AD203B41FA5}">
                      <a16:colId xmlns:a16="http://schemas.microsoft.com/office/drawing/2014/main" val="1592040664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l" fontAlgn="b"/>
                      <a:r>
                        <a:rPr lang="en-GB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RM First Class Solid" panose="020B0802020202020204" pitchFamily="34" charset="0"/>
                        </a:rPr>
                        <a:t>Reason for concern</a:t>
                      </a:r>
                    </a:p>
                  </a:txBody>
                  <a:tcPr marL="72000" marR="985" marT="9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RM First Class Solid" panose="020B0802020202020204" pitchFamily="34" charset="0"/>
                        </a:rPr>
                        <a:t>Number</a:t>
                      </a:r>
                    </a:p>
                  </a:txBody>
                  <a:tcPr marL="985" marR="985" marT="9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RM First Class Solid" panose="020B0802020202020204" pitchFamily="34" charset="0"/>
                        </a:rPr>
                        <a:t>%</a:t>
                      </a:r>
                    </a:p>
                  </a:txBody>
                  <a:tcPr marL="985" marR="985" marT="9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0744225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Poor behaviour or treatment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100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2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351508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Category not yet confirmed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4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1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994125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Pay or benefits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40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1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73455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Working hours or allocation of work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33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871327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Bullying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619866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Work conditions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19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562580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Harassment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53493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Discrimination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75359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Time off work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13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930152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Failure to follow policy or procedure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1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5119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Sexual harassment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7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443255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Transformational change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2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77624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Inappropriate use of data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646365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Trade Union activities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547076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Solid" panose="020B0802020202020204" pitchFamily="34" charset="0"/>
                        </a:rPr>
                        <a:t>No category recorded (closed cases)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58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M First Class App Solid" panose="020B0802020202020204" pitchFamily="34" charset="0"/>
                        </a:rPr>
                        <a:t>1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014849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fontAlgn="b"/>
                      <a:r>
                        <a:rPr lang="en-GB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RM First Class Solid" panose="020B0802020202020204" pitchFamily="34" charset="0"/>
                        </a:rPr>
                        <a:t>Grand Total</a:t>
                      </a:r>
                    </a:p>
                  </a:txBody>
                  <a:tcPr marL="72000" marR="985" marT="98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RM First Class Solid" panose="020B0802020202020204" pitchFamily="34" charset="0"/>
                        </a:rPr>
                        <a:t>3892</a:t>
                      </a:r>
                    </a:p>
                  </a:txBody>
                  <a:tcPr marL="985" marR="985" marT="98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RM First Class Solid" panose="020B0802020202020204" pitchFamily="34" charset="0"/>
                        </a:rPr>
                        <a:t>100%</a:t>
                      </a:r>
                    </a:p>
                  </a:txBody>
                  <a:tcPr marL="985" marR="985" marT="98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235698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75F3429-3FB3-15D4-EA2F-EC9BB96A75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973" y="2733785"/>
            <a:ext cx="5303980" cy="3017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02727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>
            <a:extLst>
              <a:ext uri="{FF2B5EF4-FFF2-40B4-BE49-F238E27FC236}">
                <a16:creationId xmlns:a16="http://schemas.microsoft.com/office/drawing/2014/main" id="{D61A5013-E008-438A-84FB-735C4BF31A1B}"/>
              </a:ext>
            </a:extLst>
          </p:cNvPr>
          <p:cNvSpPr txBox="1">
            <a:spLocks/>
          </p:cNvSpPr>
          <p:nvPr/>
        </p:nvSpPr>
        <p:spPr>
          <a:xfrm>
            <a:off x="351203" y="223251"/>
            <a:ext cx="8609274" cy="3453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00" b="1" i="0">
                <a:solidFill>
                  <a:schemeClr val="bg1"/>
                </a:solidFill>
                <a:latin typeface="RMFirstClass-Solid"/>
                <a:ea typeface="+mj-ea"/>
                <a:cs typeface="RMFirstClass-Solid"/>
              </a:defRPr>
            </a:lvl1pPr>
          </a:lstStyle>
          <a:p>
            <a:pPr defTabSz="554492">
              <a:defRPr/>
            </a:pPr>
            <a:r>
              <a:rPr lang="en-GB" sz="2244" kern="0" dirty="0">
                <a:solidFill>
                  <a:sysClr val="window" lastClr="FFFFFF"/>
                </a:solidFill>
                <a:latin typeface="RM First Class Solid" panose="020B0802020202020204" pitchFamily="34" charset="0"/>
              </a:rPr>
              <a:t>Raising Concerns – Case outcomes </a:t>
            </a:r>
            <a:endParaRPr lang="en-GB" sz="2244" kern="0" dirty="0">
              <a:solidFill>
                <a:sysClr val="window" lastClr="FFFFFF"/>
              </a:solidFill>
              <a:highlight>
                <a:srgbClr val="FFFF00"/>
              </a:highlight>
              <a:latin typeface="RM First Class Solid" panose="020B0802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41853A9-D7A9-C1C0-5711-AEBA975BFDB7}"/>
              </a:ext>
            </a:extLst>
          </p:cNvPr>
          <p:cNvSpPr txBox="1"/>
          <p:nvPr/>
        </p:nvSpPr>
        <p:spPr>
          <a:xfrm>
            <a:off x="9682299" y="6459550"/>
            <a:ext cx="25097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GB" sz="1200" dirty="0">
                <a:solidFill>
                  <a:schemeClr val="bg1"/>
                </a:solidFill>
                <a:latin typeface="RM First Class App Solid" panose="020B0802020202020204" pitchFamily="34" charset="0"/>
              </a:rPr>
              <a:t>*Data from 22</a:t>
            </a:r>
            <a:r>
              <a:rPr lang="en-GB" sz="1200" baseline="30000" dirty="0">
                <a:solidFill>
                  <a:schemeClr val="bg1"/>
                </a:solidFill>
                <a:latin typeface="RM First Class App Solid" panose="020B0802020202020204" pitchFamily="34" charset="0"/>
              </a:rPr>
              <a:t>nd</a:t>
            </a:r>
            <a:r>
              <a:rPr lang="en-GB" sz="1200" dirty="0">
                <a:solidFill>
                  <a:schemeClr val="bg1"/>
                </a:solidFill>
                <a:latin typeface="RM First Class App Solid" panose="020B0802020202020204" pitchFamily="34" charset="0"/>
              </a:rPr>
              <a:t> July 2025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2E98BBA-3C20-5EF3-8991-A6F63E8777F2}"/>
              </a:ext>
            </a:extLst>
          </p:cNvPr>
          <p:cNvSpPr txBox="1"/>
          <p:nvPr/>
        </p:nvSpPr>
        <p:spPr>
          <a:xfrm>
            <a:off x="9865586" y="5452493"/>
            <a:ext cx="2143126" cy="4597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GB" sz="1050" dirty="0">
                <a:latin typeface="RM First Class App Solid" panose="020B0802020202020204" pitchFamily="34" charset="0"/>
              </a:rPr>
              <a:t>To note: 496 outcomes have not been captured in the MI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3A73E85-51B4-1D72-932D-11B92895DC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2901" y="1106222"/>
            <a:ext cx="9486198" cy="4645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3761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>
            <a:extLst>
              <a:ext uri="{FF2B5EF4-FFF2-40B4-BE49-F238E27FC236}">
                <a16:creationId xmlns:a16="http://schemas.microsoft.com/office/drawing/2014/main" id="{D61A5013-E008-438A-84FB-735C4BF31A1B}"/>
              </a:ext>
            </a:extLst>
          </p:cNvPr>
          <p:cNvSpPr txBox="1">
            <a:spLocks/>
          </p:cNvSpPr>
          <p:nvPr/>
        </p:nvSpPr>
        <p:spPr>
          <a:xfrm>
            <a:off x="351203" y="223251"/>
            <a:ext cx="8609274" cy="3453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00" b="1" i="0">
                <a:solidFill>
                  <a:schemeClr val="bg1"/>
                </a:solidFill>
                <a:latin typeface="RMFirstClass-Solid"/>
                <a:ea typeface="+mj-ea"/>
                <a:cs typeface="RMFirstClass-Solid"/>
              </a:defRPr>
            </a:lvl1pPr>
          </a:lstStyle>
          <a:p>
            <a:pPr defTabSz="554492">
              <a:defRPr/>
            </a:pPr>
            <a:r>
              <a:rPr lang="en-GB" sz="2244" kern="0" dirty="0">
                <a:solidFill>
                  <a:sysClr val="window" lastClr="FFFFFF"/>
                </a:solidFill>
                <a:latin typeface="RM First Class Solid" panose="020B0802020202020204" pitchFamily="34" charset="0"/>
              </a:rPr>
              <a:t>Raising Concerns – Appeals</a:t>
            </a:r>
            <a:endParaRPr lang="en-GB" sz="2244" kern="0" dirty="0">
              <a:solidFill>
                <a:sysClr val="window" lastClr="FFFFFF"/>
              </a:solidFill>
              <a:highlight>
                <a:srgbClr val="FFFF00"/>
              </a:highlight>
              <a:latin typeface="RM First Class Solid" panose="020B0802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2AA7815-9550-48CF-B372-7C189808A6C9}"/>
              </a:ext>
            </a:extLst>
          </p:cNvPr>
          <p:cNvSpPr txBox="1"/>
          <p:nvPr/>
        </p:nvSpPr>
        <p:spPr>
          <a:xfrm>
            <a:off x="9682299" y="6459550"/>
            <a:ext cx="25097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GB" sz="1200" dirty="0">
                <a:solidFill>
                  <a:schemeClr val="bg1"/>
                </a:solidFill>
                <a:latin typeface="RM First Class App Solid" panose="020B0802020202020204" pitchFamily="34" charset="0"/>
              </a:rPr>
              <a:t>*Data from 22</a:t>
            </a:r>
            <a:r>
              <a:rPr lang="en-GB" sz="1200" baseline="30000" dirty="0">
                <a:solidFill>
                  <a:schemeClr val="bg1"/>
                </a:solidFill>
                <a:latin typeface="RM First Class App Solid" panose="020B0802020202020204" pitchFamily="34" charset="0"/>
              </a:rPr>
              <a:t>nd</a:t>
            </a:r>
            <a:r>
              <a:rPr lang="en-GB" sz="1200" dirty="0">
                <a:solidFill>
                  <a:schemeClr val="bg1"/>
                </a:solidFill>
                <a:latin typeface="RM First Class App Solid" panose="020B0802020202020204" pitchFamily="34" charset="0"/>
              </a:rPr>
              <a:t> July 2025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77D694-EA1E-CCCD-D4EC-318AE9B0ADC8}"/>
              </a:ext>
            </a:extLst>
          </p:cNvPr>
          <p:cNvSpPr txBox="1"/>
          <p:nvPr/>
        </p:nvSpPr>
        <p:spPr>
          <a:xfrm>
            <a:off x="351203" y="1143000"/>
            <a:ext cx="8609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RM First Class Solid" panose="020B0802020202020204" pitchFamily="34" charset="0"/>
              </a:rPr>
              <a:t>309 appeals raised since new approach launche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CF7420C-5CA0-6A22-EFEF-C26AC0E57F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1199" y="1817986"/>
            <a:ext cx="6669602" cy="3792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7849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>
            <a:extLst>
              <a:ext uri="{FF2B5EF4-FFF2-40B4-BE49-F238E27FC236}">
                <a16:creationId xmlns:a16="http://schemas.microsoft.com/office/drawing/2014/main" id="{D61A5013-E008-438A-84FB-735C4BF31A1B}"/>
              </a:ext>
            </a:extLst>
          </p:cNvPr>
          <p:cNvSpPr txBox="1">
            <a:spLocks/>
          </p:cNvSpPr>
          <p:nvPr/>
        </p:nvSpPr>
        <p:spPr>
          <a:xfrm>
            <a:off x="351203" y="223251"/>
            <a:ext cx="8609274" cy="3453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00" b="1" i="0">
                <a:solidFill>
                  <a:schemeClr val="bg1"/>
                </a:solidFill>
                <a:latin typeface="RMFirstClass-Solid"/>
                <a:ea typeface="+mj-ea"/>
                <a:cs typeface="RMFirstClass-Solid"/>
              </a:defRPr>
            </a:lvl1pPr>
          </a:lstStyle>
          <a:p>
            <a:pPr defTabSz="554492">
              <a:defRPr/>
            </a:pPr>
            <a:r>
              <a:rPr lang="en-GB" sz="2244" kern="0" dirty="0">
                <a:solidFill>
                  <a:sysClr val="window" lastClr="FFFFFF"/>
                </a:solidFill>
                <a:latin typeface="RM First Class Solid" panose="020B0802020202020204" pitchFamily="34" charset="0"/>
              </a:rPr>
              <a:t>Activity since our last update</a:t>
            </a:r>
            <a:endParaRPr lang="en-GB" sz="2244" kern="0" dirty="0">
              <a:solidFill>
                <a:sysClr val="window" lastClr="FFFFFF"/>
              </a:solidFill>
              <a:highlight>
                <a:srgbClr val="FFFF00"/>
              </a:highlight>
              <a:latin typeface="RM First Class Solid" panose="020B0802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D6A608A-FE16-CE0F-F3C4-6B89F81E53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1801" y="933924"/>
            <a:ext cx="3619667" cy="185731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7F1C5E3-B2B5-A37F-D89E-6FCB3D3478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97947" y="2598329"/>
            <a:ext cx="3162300" cy="195573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DFC78A9-E36E-977B-B26E-8DCA17A832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81801" y="4259671"/>
            <a:ext cx="3162300" cy="17905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4EE6197-150E-6BF7-C9D4-6FB23E5BF7CA}"/>
              </a:ext>
            </a:extLst>
          </p:cNvPr>
          <p:cNvSpPr txBox="1"/>
          <p:nvPr/>
        </p:nvSpPr>
        <p:spPr>
          <a:xfrm>
            <a:off x="331753" y="1536173"/>
            <a:ext cx="6114911" cy="378565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271463" marR="0" lvl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DC000E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RM First Class App Solid" panose="020B0802020202020204" pitchFamily="34" charset="0"/>
                <a:ea typeface="+mn-ea"/>
                <a:cs typeface="+mn-cs"/>
              </a:rPr>
              <a:t>Operations data being shared as part of weekly KPI reporting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271463" marR="0" lvl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>
                <a:srgbClr val="DC000E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RM First Class App Solid" panose="020B0802020202020204" pitchFamily="34" charset="0"/>
                <a:ea typeface="+mn-ea"/>
                <a:cs typeface="+mn-cs"/>
              </a:rPr>
              <a:t>HRBP briefing packs cascaded: </a:t>
            </a:r>
            <a:b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RM First Class App Solid" panose="020B0802020202020204" pitchFamily="34" charset="0"/>
                <a:ea typeface="+mn-ea"/>
                <a:cs typeface="+mn-cs"/>
              </a:rPr>
            </a:b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- a reminder for managers on the new approach including local case progress data and embedded resources</a:t>
            </a:r>
            <a:b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271463" marR="0" lvl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DC000E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RM First Class App Solid" panose="020B0802020202020204" pitchFamily="34" charset="0"/>
                <a:ea typeface="+mn-ea"/>
                <a:cs typeface="Calibri" panose="020F0502020204030204"/>
              </a:rPr>
              <a:t>Focus group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j-lt"/>
                <a:ea typeface="+mn-ea"/>
                <a:cs typeface="Calibri" panose="020F0502020204030204"/>
              </a:rPr>
              <a:t>–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RM First Class App Solid" panose="020B0802020202020204" pitchFamily="34" charset="0"/>
                <a:ea typeface="+mn-ea"/>
                <a:cs typeface="Calibri" panose="020F0502020204030204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j-lt"/>
                <a:ea typeface="+mn-ea"/>
                <a:cs typeface="Calibri" panose="020F0502020204030204"/>
              </a:rPr>
              <a:t>to understand manager feedback from those who have used the new approach </a:t>
            </a:r>
            <a:endParaRPr lang="en-GB" sz="2000" dirty="0">
              <a:solidFill>
                <a:prstClr val="black">
                  <a:lumMod val="75000"/>
                  <a:lumOff val="25000"/>
                </a:prstClr>
              </a:solidFill>
              <a:latin typeface="+mj-lt"/>
              <a:cs typeface="Calibri" panose="020F0502020204030204"/>
            </a:endParaRPr>
          </a:p>
          <a:p>
            <a:pPr marL="271463" marR="0" lvl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DC000E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lang="en-GB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RM First Class App Solid" panose="020B0802020202020204" pitchFamily="34" charset="0"/>
                <a:cs typeface="Calibri" panose="020F0502020204030204"/>
              </a:rPr>
              <a:t>Manager survey </a:t>
            </a:r>
            <a:r>
              <a:rPr lang="en-GB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cs typeface="Calibri" panose="020F0502020204030204"/>
              </a:rPr>
              <a:t>– to understand experience of those who have concluded a Raising Concerns case</a:t>
            </a:r>
          </a:p>
        </p:txBody>
      </p:sp>
    </p:spTree>
    <p:extLst>
      <p:ext uri="{BB962C8B-B14F-4D97-AF65-F5344CB8AC3E}">
        <p14:creationId xmlns:p14="http://schemas.microsoft.com/office/powerpoint/2010/main" val="39446457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>
            <a:extLst>
              <a:ext uri="{FF2B5EF4-FFF2-40B4-BE49-F238E27FC236}">
                <a16:creationId xmlns:a16="http://schemas.microsoft.com/office/drawing/2014/main" id="{D61A5013-E008-438A-84FB-735C4BF31A1B}"/>
              </a:ext>
            </a:extLst>
          </p:cNvPr>
          <p:cNvSpPr txBox="1">
            <a:spLocks/>
          </p:cNvSpPr>
          <p:nvPr/>
        </p:nvSpPr>
        <p:spPr>
          <a:xfrm>
            <a:off x="351203" y="223251"/>
            <a:ext cx="8609274" cy="3453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00" b="1" i="0">
                <a:solidFill>
                  <a:schemeClr val="bg1"/>
                </a:solidFill>
                <a:latin typeface="RMFirstClass-Solid"/>
                <a:ea typeface="+mj-ea"/>
                <a:cs typeface="RMFirstClass-Solid"/>
              </a:defRPr>
            </a:lvl1pPr>
          </a:lstStyle>
          <a:p>
            <a:pPr defTabSz="554492">
              <a:defRPr/>
            </a:pPr>
            <a:r>
              <a:rPr lang="en-GB" sz="2244" kern="0" dirty="0">
                <a:solidFill>
                  <a:sysClr val="window" lastClr="FFFFFF"/>
                </a:solidFill>
                <a:latin typeface="RM First Class Solid" panose="020B0802020202020204" pitchFamily="34" charset="0"/>
              </a:rPr>
              <a:t>Case progress – What is this telling us?  </a:t>
            </a:r>
            <a:endParaRPr lang="en-GB" sz="2244" kern="0" dirty="0">
              <a:solidFill>
                <a:sysClr val="window" lastClr="FFFFFF"/>
              </a:solidFill>
              <a:highlight>
                <a:srgbClr val="FFFF00"/>
              </a:highlight>
              <a:latin typeface="RM First Class Solid" panose="020B0802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80026F3-A5EC-A72E-39F7-097E738516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575" y="866776"/>
            <a:ext cx="11372850" cy="576797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0DB03F9-2956-3B33-222A-96F5B677C8CF}"/>
              </a:ext>
            </a:extLst>
          </p:cNvPr>
          <p:cNvSpPr/>
          <p:nvPr/>
        </p:nvSpPr>
        <p:spPr>
          <a:xfrm>
            <a:off x="2629990" y="5291262"/>
            <a:ext cx="557348" cy="280299"/>
          </a:xfrm>
          <a:prstGeom prst="rect">
            <a:avLst/>
          </a:prstGeom>
          <a:noFill/>
          <a:ln w="57150">
            <a:solidFill>
              <a:srgbClr val="FF7C8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E20D16-44D6-06C5-D523-A9551F4C7BE5}"/>
              </a:ext>
            </a:extLst>
          </p:cNvPr>
          <p:cNvSpPr txBox="1"/>
          <p:nvPr/>
        </p:nvSpPr>
        <p:spPr>
          <a:xfrm>
            <a:off x="2464526" y="4313736"/>
            <a:ext cx="1445623" cy="715089"/>
          </a:xfrm>
          <a:prstGeom prst="wedgeRoundRectCallout">
            <a:avLst>
              <a:gd name="adj1" fmla="val -18724"/>
              <a:gd name="adj2" fmla="val 72179"/>
              <a:gd name="adj3" fmla="val 16667"/>
            </a:avLst>
          </a:prstGeom>
          <a:solidFill>
            <a:srgbClr val="FFFF00"/>
          </a:solidFill>
          <a:ln w="57150">
            <a:solidFill>
              <a:srgbClr val="FF7C8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RM First Class App Solid" panose="020B0802020202020204" pitchFamily="34" charset="0"/>
              </a:rPr>
              <a:t>Number of concerns at the informal stag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4C06FE-15A7-78A6-DD23-D2F91E3AF0D5}"/>
              </a:ext>
            </a:extLst>
          </p:cNvPr>
          <p:cNvSpPr/>
          <p:nvPr/>
        </p:nvSpPr>
        <p:spPr>
          <a:xfrm>
            <a:off x="3936276" y="5299469"/>
            <a:ext cx="557348" cy="280299"/>
          </a:xfrm>
          <a:prstGeom prst="rect">
            <a:avLst/>
          </a:prstGeom>
          <a:noFill/>
          <a:ln w="57150">
            <a:solidFill>
              <a:srgbClr val="FF7C8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ACCC3F4-13F3-1A9D-AEBD-4F117134417F}"/>
              </a:ext>
            </a:extLst>
          </p:cNvPr>
          <p:cNvSpPr txBox="1"/>
          <p:nvPr/>
        </p:nvSpPr>
        <p:spPr>
          <a:xfrm>
            <a:off x="3160707" y="5852054"/>
            <a:ext cx="1445623" cy="919401"/>
          </a:xfrm>
          <a:prstGeom prst="wedgeRoundRectCallout">
            <a:avLst>
              <a:gd name="adj1" fmla="val 20508"/>
              <a:gd name="adj2" fmla="val -69418"/>
              <a:gd name="adj3" fmla="val 16667"/>
            </a:avLst>
          </a:prstGeom>
          <a:solidFill>
            <a:srgbClr val="FFFF00"/>
          </a:solidFill>
          <a:ln w="57150">
            <a:solidFill>
              <a:srgbClr val="FF7C8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RM First Class App Solid" panose="020B0802020202020204" pitchFamily="34" charset="0"/>
              </a:rPr>
              <a:t>Initial meeting has taken place for 1661 informal cas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63D8F2C-D34B-081F-21A5-DA02B74CFDED}"/>
              </a:ext>
            </a:extLst>
          </p:cNvPr>
          <p:cNvSpPr/>
          <p:nvPr/>
        </p:nvSpPr>
        <p:spPr>
          <a:xfrm>
            <a:off x="5900059" y="5294808"/>
            <a:ext cx="557348" cy="280299"/>
          </a:xfrm>
          <a:prstGeom prst="rect">
            <a:avLst/>
          </a:prstGeom>
          <a:noFill/>
          <a:ln w="57150">
            <a:solidFill>
              <a:srgbClr val="FF7C8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D23ABA-EEEC-61E9-0F6B-F5B6294CCB6F}"/>
              </a:ext>
            </a:extLst>
          </p:cNvPr>
          <p:cNvSpPr txBox="1"/>
          <p:nvPr/>
        </p:nvSpPr>
        <p:spPr>
          <a:xfrm>
            <a:off x="5429727" y="3915954"/>
            <a:ext cx="1343213" cy="1044000"/>
          </a:xfrm>
          <a:prstGeom prst="wedgeRoundRectCallout">
            <a:avLst>
              <a:gd name="adj1" fmla="val 4259"/>
              <a:gd name="adj2" fmla="val 73986"/>
              <a:gd name="adj3" fmla="val 16667"/>
            </a:avLst>
          </a:prstGeom>
          <a:solidFill>
            <a:srgbClr val="FFFF00"/>
          </a:solidFill>
          <a:ln w="57150">
            <a:solidFill>
              <a:srgbClr val="FF7C80"/>
            </a:solidFill>
          </a:ln>
        </p:spPr>
        <p:txBody>
          <a:bodyPr wrap="square" lIns="72000" tIns="36000" bIns="36000" rtlCol="0">
            <a:spAutoFit/>
          </a:bodyPr>
          <a:lstStyle/>
          <a:p>
            <a:pPr algn="ctr"/>
            <a:r>
              <a:rPr lang="en-GB" sz="1200" dirty="0">
                <a:latin typeface="RM First Class App Solid" panose="020B0802020202020204" pitchFamily="34" charset="0"/>
              </a:rPr>
              <a:t>1640 cases have been concluded at the informal stag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BDDFEC-255B-B8B8-E28B-3B5FBFB018F7}"/>
              </a:ext>
            </a:extLst>
          </p:cNvPr>
          <p:cNvSpPr/>
          <p:nvPr/>
        </p:nvSpPr>
        <p:spPr>
          <a:xfrm>
            <a:off x="7315200" y="5289505"/>
            <a:ext cx="557348" cy="280299"/>
          </a:xfrm>
          <a:prstGeom prst="rect">
            <a:avLst/>
          </a:prstGeom>
          <a:noFill/>
          <a:ln w="571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7D88709-7639-5D76-C3D6-6C8F9F005C50}"/>
              </a:ext>
            </a:extLst>
          </p:cNvPr>
          <p:cNvSpPr txBox="1"/>
          <p:nvPr/>
        </p:nvSpPr>
        <p:spPr>
          <a:xfrm>
            <a:off x="7149736" y="4224559"/>
            <a:ext cx="1445623" cy="715089"/>
          </a:xfrm>
          <a:prstGeom prst="wedgeRoundRectCallout">
            <a:avLst>
              <a:gd name="adj1" fmla="val -20027"/>
              <a:gd name="adj2" fmla="val 86487"/>
              <a:gd name="adj3" fmla="val 16667"/>
            </a:avLst>
          </a:prstGeom>
          <a:solidFill>
            <a:srgbClr val="FFFF00"/>
          </a:solidFill>
          <a:ln w="57150"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RM First Class App Solid" panose="020B0802020202020204" pitchFamily="34" charset="0"/>
              </a:rPr>
              <a:t>Number of concerns at the formal stag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67952AC-4B1F-5ABB-4111-2AD8883603CD}"/>
              </a:ext>
            </a:extLst>
          </p:cNvPr>
          <p:cNvSpPr/>
          <p:nvPr/>
        </p:nvSpPr>
        <p:spPr>
          <a:xfrm>
            <a:off x="8612780" y="5287728"/>
            <a:ext cx="557348" cy="280299"/>
          </a:xfrm>
          <a:prstGeom prst="rect">
            <a:avLst/>
          </a:prstGeom>
          <a:noFill/>
          <a:ln w="571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BE8B905-20F3-A6A2-D1BB-F775AC4A031D}"/>
              </a:ext>
            </a:extLst>
          </p:cNvPr>
          <p:cNvSpPr txBox="1"/>
          <p:nvPr/>
        </p:nvSpPr>
        <p:spPr>
          <a:xfrm>
            <a:off x="8447316" y="5828480"/>
            <a:ext cx="1445623" cy="919401"/>
          </a:xfrm>
          <a:prstGeom prst="wedgeRoundRectCallout">
            <a:avLst>
              <a:gd name="adj1" fmla="val -21966"/>
              <a:gd name="adj2" fmla="val -72007"/>
              <a:gd name="adj3" fmla="val 16667"/>
            </a:avLst>
          </a:prstGeom>
          <a:solidFill>
            <a:srgbClr val="FFFF00"/>
          </a:solidFill>
          <a:ln w="57150"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RM First Class App Solid" panose="020B0802020202020204" pitchFamily="34" charset="0"/>
              </a:rPr>
              <a:t>Initial meeting has taken place for 1643 formal cas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106ADD8-8DB8-82AB-B03B-8B3E09D93A63}"/>
              </a:ext>
            </a:extLst>
          </p:cNvPr>
          <p:cNvSpPr/>
          <p:nvPr/>
        </p:nvSpPr>
        <p:spPr>
          <a:xfrm>
            <a:off x="10498253" y="5294808"/>
            <a:ext cx="557348" cy="280299"/>
          </a:xfrm>
          <a:prstGeom prst="rect">
            <a:avLst/>
          </a:prstGeom>
          <a:noFill/>
          <a:ln w="571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65EBE63-D3E4-82C7-CF94-6035F5DF74FC}"/>
              </a:ext>
            </a:extLst>
          </p:cNvPr>
          <p:cNvSpPr txBox="1"/>
          <p:nvPr/>
        </p:nvSpPr>
        <p:spPr>
          <a:xfrm>
            <a:off x="9594419" y="4173480"/>
            <a:ext cx="1537062" cy="817245"/>
          </a:xfrm>
          <a:prstGeom prst="wedgeRoundRectCallout">
            <a:avLst>
              <a:gd name="adj1" fmla="val 23215"/>
              <a:gd name="adj2" fmla="val 77508"/>
              <a:gd name="adj3" fmla="val 16667"/>
            </a:avLst>
          </a:prstGeom>
          <a:solidFill>
            <a:srgbClr val="FFFF00"/>
          </a:solidFill>
          <a:ln w="57150"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GB" sz="1200" dirty="0">
                <a:latin typeface="RM First Class App Solid" panose="020B0802020202020204" pitchFamily="34" charset="0"/>
              </a:rPr>
              <a:t>1640 cases have been concluded at the formal stage</a:t>
            </a:r>
          </a:p>
        </p:txBody>
      </p:sp>
    </p:spTree>
    <p:extLst>
      <p:ext uri="{BB962C8B-B14F-4D97-AF65-F5344CB8AC3E}">
        <p14:creationId xmlns:p14="http://schemas.microsoft.com/office/powerpoint/2010/main" val="6626866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>
            <a:extLst>
              <a:ext uri="{FF2B5EF4-FFF2-40B4-BE49-F238E27FC236}">
                <a16:creationId xmlns:a16="http://schemas.microsoft.com/office/drawing/2014/main" id="{D61A5013-E008-438A-84FB-735C4BF31A1B}"/>
              </a:ext>
            </a:extLst>
          </p:cNvPr>
          <p:cNvSpPr txBox="1">
            <a:spLocks/>
          </p:cNvSpPr>
          <p:nvPr/>
        </p:nvSpPr>
        <p:spPr>
          <a:xfrm>
            <a:off x="351203" y="223251"/>
            <a:ext cx="8609274" cy="3453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00" b="1" i="0">
                <a:solidFill>
                  <a:schemeClr val="bg1"/>
                </a:solidFill>
                <a:latin typeface="RMFirstClass-Solid"/>
                <a:ea typeface="+mj-ea"/>
                <a:cs typeface="RMFirstClass-Solid"/>
              </a:defRPr>
            </a:lvl1pPr>
          </a:lstStyle>
          <a:p>
            <a:pPr defTabSz="554492">
              <a:defRPr/>
            </a:pPr>
            <a:r>
              <a:rPr lang="en-GB" sz="2244" kern="0" dirty="0">
                <a:solidFill>
                  <a:sysClr val="window" lastClr="FFFFFF"/>
                </a:solidFill>
                <a:latin typeface="RM First Class Solid" panose="020B0802020202020204" pitchFamily="34" charset="0"/>
              </a:rPr>
              <a:t>Case progress </a:t>
            </a:r>
            <a:endParaRPr lang="en-GB" sz="2244" kern="0" dirty="0">
              <a:solidFill>
                <a:sysClr val="window" lastClr="FFFFFF"/>
              </a:solidFill>
              <a:highlight>
                <a:srgbClr val="FFFF00"/>
              </a:highlight>
              <a:latin typeface="RM First Class Solid" panose="020B0802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80026F3-A5EC-A72E-39F7-097E738516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575" y="866776"/>
            <a:ext cx="11372850" cy="5767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8497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itle Slides">
  <a:themeElements>
    <a:clrScheme name="Academy Brand Colours">
      <a:dk1>
        <a:sysClr val="windowText" lastClr="000000"/>
      </a:dk1>
      <a:lt1>
        <a:sysClr val="window" lastClr="FFFFFF"/>
      </a:lt1>
      <a:dk2>
        <a:srgbClr val="55575A"/>
      </a:dk2>
      <a:lt2>
        <a:srgbClr val="CDCFCF"/>
      </a:lt2>
      <a:accent1>
        <a:srgbClr val="D40918"/>
      </a:accent1>
      <a:accent2>
        <a:srgbClr val="00698F"/>
      </a:accent2>
      <a:accent3>
        <a:srgbClr val="41873F"/>
      </a:accent3>
      <a:accent4>
        <a:srgbClr val="D6C262"/>
      </a:accent4>
      <a:accent5>
        <a:srgbClr val="006B68"/>
      </a:accent5>
      <a:accent6>
        <a:srgbClr val="818B91"/>
      </a:accent6>
      <a:hlink>
        <a:srgbClr val="B9C6D7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2a8a72c3-73bc-4e50-a702-3489f0d42c6d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266539550C4F4CBF99C19E818D3EF0" ma:contentTypeVersion="17" ma:contentTypeDescription="Create a new document." ma:contentTypeScope="" ma:versionID="308caaf8c54609c2cd2b31e257f5b532">
  <xsd:schema xmlns:xsd="http://www.w3.org/2001/XMLSchema" xmlns:xs="http://www.w3.org/2001/XMLSchema" xmlns:p="http://schemas.microsoft.com/office/2006/metadata/properties" xmlns:ns3="2a8a72c3-73bc-4e50-a702-3489f0d42c6d" xmlns:ns4="c2e4983a-603a-4a40-a364-30de0b604b9a" targetNamespace="http://schemas.microsoft.com/office/2006/metadata/properties" ma:root="true" ma:fieldsID="c1a656f2847a494c02de9ec825f1887f" ns3:_="" ns4:_="">
    <xsd:import namespace="2a8a72c3-73bc-4e50-a702-3489f0d42c6d"/>
    <xsd:import namespace="c2e4983a-603a-4a40-a364-30de0b604b9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  <xsd:element ref="ns3:_activity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8a72c3-73bc-4e50-a702-3489f0d42c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e4983a-603a-4a40-a364-30de0b604b9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43563D9-EB65-4C29-8BDC-7C5B7D90501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8829772-6D12-48CE-AD7E-36A610682D35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a8a72c3-73bc-4e50-a702-3489f0d42c6d"/>
    <ds:schemaRef ds:uri="c2e4983a-603a-4a40-a364-30de0b604b9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EA0EA16-396D-42FE-AD8B-2263C4705820}">
  <ds:schemaRefs>
    <ds:schemaRef ds:uri="2a8a72c3-73bc-4e50-a702-3489f0d42c6d"/>
    <ds:schemaRef ds:uri="c2e4983a-603a-4a40-a364-30de0b604b9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406</TotalTime>
  <Words>324</Words>
  <Application>Microsoft Office PowerPoint</Application>
  <PresentationFormat>Widescreen</PresentationFormat>
  <Paragraphs>84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Calibri Light</vt:lpstr>
      <vt:lpstr>Calibri</vt:lpstr>
      <vt:lpstr>RM First Class Solid</vt:lpstr>
      <vt:lpstr>Arial</vt:lpstr>
      <vt:lpstr>RMFirstClass-Solid</vt:lpstr>
      <vt:lpstr>RM First Class App Solid</vt:lpstr>
      <vt:lpstr>RM First Class Inline</vt:lpstr>
      <vt:lpstr>1_Office Theme</vt:lpstr>
      <vt:lpstr>1_Title Slides</vt:lpstr>
      <vt:lpstr>think-cell Slide</vt:lpstr>
      <vt:lpstr>Raising Concerns  July 2025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Royal Mail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randeep Hallan</dc:creator>
  <cp:lastModifiedBy>Louise Pietrzykowska</cp:lastModifiedBy>
  <cp:revision>10</cp:revision>
  <dcterms:created xsi:type="dcterms:W3CDTF">2024-12-04T06:12:26Z</dcterms:created>
  <dcterms:modified xsi:type="dcterms:W3CDTF">2025-08-08T13:2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4-12-04T06:15:12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>3181a7b3-6bfd-42e5-9a5a-8601d1285609</vt:lpwstr>
  </property>
  <property fmtid="{D5CDD505-2E9C-101B-9397-08002B2CF9AE}" pid="8" name="MSIP_Label_980f36f3-41a5-4f45-a6a2-e224f336accd_ContentBits">
    <vt:lpwstr>2</vt:lpwstr>
  </property>
  <property fmtid="{D5CDD505-2E9C-101B-9397-08002B2CF9AE}" pid="9" name="ClassificationContentMarkingFooterLocations">
    <vt:lpwstr>Office Theme:8</vt:lpwstr>
  </property>
  <property fmtid="{D5CDD505-2E9C-101B-9397-08002B2CF9AE}" pid="10" name="ClassificationContentMarkingFooterText">
    <vt:lpwstr>Classified: RMG – Internal</vt:lpwstr>
  </property>
  <property fmtid="{D5CDD505-2E9C-101B-9397-08002B2CF9AE}" pid="11" name="ContentTypeId">
    <vt:lpwstr>0x01010050266539550C4F4CBF99C19E818D3EF0</vt:lpwstr>
  </property>
</Properties>
</file>